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256" r:id="rId5"/>
    <p:sldId id="266" r:id="rId6"/>
    <p:sldId id="258" r:id="rId7"/>
    <p:sldId id="269" r:id="rId8"/>
    <p:sldId id="270" r:id="rId9"/>
    <p:sldId id="271" r:id="rId10"/>
    <p:sldId id="262" r:id="rId11"/>
    <p:sldId id="272" r:id="rId12"/>
    <p:sldId id="273" r:id="rId13"/>
    <p:sldId id="274" r:id="rId14"/>
    <p:sldId id="275" r:id="rId15"/>
    <p:sldId id="276" r:id="rId16"/>
    <p:sldId id="263" r:id="rId17"/>
    <p:sldId id="277" r:id="rId18"/>
    <p:sldId id="278" r:id="rId19"/>
    <p:sldId id="279" r:id="rId20"/>
    <p:sldId id="280" r:id="rId21"/>
    <p:sldId id="281" r:id="rId22"/>
    <p:sldId id="264" r:id="rId23"/>
    <p:sldId id="282" r:id="rId24"/>
    <p:sldId id="283" r:id="rId25"/>
    <p:sldId id="284" r:id="rId26"/>
    <p:sldId id="285" r:id="rId27"/>
    <p:sldId id="286" r:id="rId28"/>
    <p:sldId id="265" r:id="rId29"/>
    <p:sldId id="287" r:id="rId30"/>
    <p:sldId id="289" r:id="rId31"/>
    <p:sldId id="290" r:id="rId32"/>
    <p:sldId id="261" r:id="rId33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BFC7"/>
    <a:srgbClr val="83C024"/>
    <a:srgbClr val="2D9AD8"/>
    <a:srgbClr val="50BEF0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701" autoAdjust="0"/>
    <p:restoredTop sz="96182" autoAdjust="0"/>
  </p:normalViewPr>
  <p:slideViewPr>
    <p:cSldViewPr snapToGrid="0">
      <p:cViewPr>
        <p:scale>
          <a:sx n="130" d="100"/>
          <a:sy n="130" d="100"/>
        </p:scale>
        <p:origin x="896" y="5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3/9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262B788C-5AEC-4FD4-BE67-B306CE1F4C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646" t="58016" r="2638" b="1566"/>
          <a:stretch/>
        </p:blipFill>
        <p:spPr>
          <a:xfrm>
            <a:off x="0" y="0"/>
            <a:ext cx="5448300" cy="228550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B8E47FA0-2AE6-461A-9A9E-F112804E04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622" b="21353"/>
          <a:stretch/>
        </p:blipFill>
        <p:spPr>
          <a:xfrm>
            <a:off x="4533900" y="1795406"/>
            <a:ext cx="7658100" cy="5062594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025184"/>
            <a:ext cx="10845800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773937"/>
            <a:ext cx="10845800" cy="125124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788492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084763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BB4E59B6-14B9-F6FF-6859-6E90620E58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2624" y="564433"/>
            <a:ext cx="4773964" cy="576000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E93A8048-FA89-F16C-4245-D1D2BF720B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98012" y="713788"/>
            <a:ext cx="1873302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190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ECE4F0C9-1202-4428-868F-2BCE28F487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622" b="21353"/>
          <a:stretch/>
        </p:blipFill>
        <p:spPr>
          <a:xfrm>
            <a:off x="4533900" y="1795406"/>
            <a:ext cx="7658100" cy="5062594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75698" y="26579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76814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39B3EA21-0075-92DC-C76C-C479B0DF5D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59679" y="847208"/>
            <a:ext cx="2019734" cy="46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t>2023/9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图形 5">
            <a:extLst>
              <a:ext uri="{FF2B5EF4-FFF2-40B4-BE49-F238E27FC236}">
                <a16:creationId xmlns:a16="http://schemas.microsoft.com/office/drawing/2014/main" id="{341B7504-7AB5-BB90-9761-F46B0BE072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33546" y="720726"/>
            <a:ext cx="1873302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6E93BF5B-56A6-4F3F-A439-1AFFE0F17D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0646" t="58016" r="2638" b="1566"/>
          <a:stretch/>
        </p:blipFill>
        <p:spPr>
          <a:xfrm>
            <a:off x="0" y="0"/>
            <a:ext cx="5448300" cy="2285501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98F9C852-C205-4807-B684-B5D93137E7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7622" b="21353"/>
          <a:stretch/>
        </p:blipFill>
        <p:spPr>
          <a:xfrm>
            <a:off x="4533900" y="1795406"/>
            <a:ext cx="7658100" cy="5062594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135063"/>
            <a:ext cx="10845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4412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145028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79D659D0-65CD-F607-E9EE-868CF2166FC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4805" y="566750"/>
            <a:ext cx="4773964" cy="576000"/>
          </a:xfrm>
          <a:prstGeom prst="rect">
            <a:avLst/>
          </a:prstGeom>
        </p:spPr>
      </p:pic>
      <p:pic>
        <p:nvPicPr>
          <p:cNvPr id="3" name="图形 2">
            <a:extLst>
              <a:ext uri="{FF2B5EF4-FFF2-40B4-BE49-F238E27FC236}">
                <a16:creationId xmlns:a16="http://schemas.microsoft.com/office/drawing/2014/main" id="{96CEF3F4-35FC-DA21-B1B8-B00B51B7FE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2950" y="4574686"/>
            <a:ext cx="2029505" cy="201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t>2023/9/3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3" r:id="rId2"/>
    <p:sldLayoutId id="2147483651" r:id="rId3"/>
    <p:sldLayoutId id="2147483662" r:id="rId4"/>
    <p:sldLayoutId id="2147483661" r:id="rId5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A1DF1CE5-2485-4998-92D4-298533C60362}"/>
              </a:ext>
            </a:extLst>
          </p:cNvPr>
          <p:cNvSpPr/>
          <p:nvPr/>
        </p:nvSpPr>
        <p:spPr>
          <a:xfrm>
            <a:off x="1789338" y="5238071"/>
            <a:ext cx="2427062" cy="310251"/>
          </a:xfrm>
          <a:prstGeom prst="roundRect">
            <a:avLst/>
          </a:prstGeom>
          <a:solidFill>
            <a:schemeClr val="bg1"/>
          </a:solidFill>
          <a:ln>
            <a:solidFill>
              <a:srgbClr val="83C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DFBC0A38-B36F-4148-AB24-C3F9B736A915}"/>
              </a:ext>
            </a:extLst>
          </p:cNvPr>
          <p:cNvSpPr/>
          <p:nvPr/>
        </p:nvSpPr>
        <p:spPr>
          <a:xfrm>
            <a:off x="1621064" y="5006155"/>
            <a:ext cx="412750" cy="622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D6C9412D-E927-4BE6-BC2E-0A5390B4B64E}"/>
              </a:ext>
            </a:extLst>
          </p:cNvPr>
          <p:cNvSpPr/>
          <p:nvPr/>
        </p:nvSpPr>
        <p:spPr>
          <a:xfrm>
            <a:off x="1789338" y="4649677"/>
            <a:ext cx="2427062" cy="310251"/>
          </a:xfrm>
          <a:prstGeom prst="roundRect">
            <a:avLst/>
          </a:prstGeom>
          <a:solidFill>
            <a:schemeClr val="bg1"/>
          </a:solidFill>
          <a:ln>
            <a:solidFill>
              <a:srgbClr val="83C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2BEE0C5-E871-4AAA-B682-614403FF4469}"/>
              </a:ext>
            </a:extLst>
          </p:cNvPr>
          <p:cNvSpPr/>
          <p:nvPr/>
        </p:nvSpPr>
        <p:spPr>
          <a:xfrm>
            <a:off x="1621064" y="4417761"/>
            <a:ext cx="412750" cy="622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839354" y="1777789"/>
            <a:ext cx="9664702" cy="2058031"/>
          </a:xfrm>
        </p:spPr>
        <p:txBody>
          <a:bodyPr>
            <a:normAutofit/>
          </a:bodyPr>
          <a:lstStyle/>
          <a:p>
            <a:r>
              <a:rPr lang="zh-CN" altLang="en-US" sz="5400" dirty="0">
                <a:solidFill>
                  <a:srgbClr val="2D9AD8"/>
                </a:solidFill>
                <a:latin typeface="+mn-lt"/>
                <a:ea typeface="+mn-ea"/>
                <a:cs typeface="+mn-ea"/>
                <a:sym typeface="+mn-lt"/>
              </a:rPr>
              <a:t>毕业论文答辩</a:t>
            </a:r>
            <a:r>
              <a:rPr lang="en-US" altLang="zh-CN" sz="5400" dirty="0">
                <a:solidFill>
                  <a:srgbClr val="2D9AD8"/>
                </a:solidFill>
                <a:latin typeface="+mn-lt"/>
                <a:ea typeface="+mn-ea"/>
                <a:cs typeface="+mn-ea"/>
                <a:sym typeface="+mn-lt"/>
              </a:rPr>
              <a:t>PPT</a:t>
            </a:r>
            <a:r>
              <a:rPr lang="zh-CN" altLang="en-US" sz="5400" dirty="0">
                <a:solidFill>
                  <a:srgbClr val="2D9AD8"/>
                </a:solidFill>
                <a:latin typeface="+mn-lt"/>
                <a:ea typeface="+mn-ea"/>
                <a:cs typeface="+mn-ea"/>
                <a:sym typeface="+mn-lt"/>
              </a:rPr>
              <a:t>模板</a:t>
            </a:r>
            <a:endParaRPr lang="zh-CN" altLang="en-US" sz="5400" b="0" dirty="0">
              <a:solidFill>
                <a:srgbClr val="2D9AD8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2033814" y="4670122"/>
            <a:ext cx="2298700" cy="296271"/>
          </a:xfrm>
        </p:spPr>
        <p:txBody>
          <a:bodyPr/>
          <a:lstStyle/>
          <a:p>
            <a:r>
              <a:rPr lang="zh-CN" altLang="en-US" dirty="0">
                <a:solidFill>
                  <a:srgbClr val="83C024"/>
                </a:solidFill>
                <a:cs typeface="+mn-ea"/>
                <a:sym typeface="+mn-lt"/>
              </a:rPr>
              <a:t>答辩人：</a:t>
            </a:r>
            <a:r>
              <a:rPr lang="en-US" altLang="zh-CN" dirty="0">
                <a:solidFill>
                  <a:srgbClr val="83C024"/>
                </a:solidFill>
                <a:cs typeface="+mn-ea"/>
                <a:sym typeface="+mn-lt"/>
              </a:rPr>
              <a:t>XXX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2033814" y="5264152"/>
            <a:ext cx="2298700" cy="296271"/>
          </a:xfrm>
        </p:spPr>
        <p:txBody>
          <a:bodyPr/>
          <a:lstStyle/>
          <a:p>
            <a:r>
              <a:rPr lang="zh-CN" altLang="en-US" dirty="0">
                <a:solidFill>
                  <a:srgbClr val="83C024"/>
                </a:solidFill>
                <a:cs typeface="+mn-ea"/>
                <a:sym typeface="+mn-lt"/>
              </a:rPr>
              <a:t>指导老师：</a:t>
            </a:r>
            <a:r>
              <a:rPr lang="en-US" altLang="zh-CN" dirty="0">
                <a:solidFill>
                  <a:srgbClr val="83C024"/>
                </a:solidFill>
                <a:cs typeface="+mn-ea"/>
                <a:sym typeface="+mn-lt"/>
              </a:rPr>
              <a:t> XXX</a:t>
            </a: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482EE096-FADF-41CB-8F95-9538C2557308}"/>
              </a:ext>
            </a:extLst>
          </p:cNvPr>
          <p:cNvSpPr/>
          <p:nvPr/>
        </p:nvSpPr>
        <p:spPr>
          <a:xfrm>
            <a:off x="1611999" y="5142453"/>
            <a:ext cx="363876" cy="417970"/>
          </a:xfrm>
          <a:custGeom>
            <a:avLst/>
            <a:gdLst>
              <a:gd name="connsiteX0" fmla="*/ 493614 w 493821"/>
              <a:gd name="connsiteY0" fmla="*/ 557750 h 567236"/>
              <a:gd name="connsiteX1" fmla="*/ 488558 w 493821"/>
              <a:gd name="connsiteY1" fmla="*/ 567446 h 567236"/>
              <a:gd name="connsiteX2" fmla="*/ 0 w 493821"/>
              <a:gd name="connsiteY2" fmla="*/ 567446 h 567236"/>
              <a:gd name="connsiteX3" fmla="*/ 277 w 493821"/>
              <a:gd name="connsiteY3" fmla="*/ 552694 h 567236"/>
              <a:gd name="connsiteX4" fmla="*/ 13506 w 493821"/>
              <a:gd name="connsiteY4" fmla="*/ 450120 h 567236"/>
              <a:gd name="connsiteX5" fmla="*/ 70645 w 493821"/>
              <a:gd name="connsiteY5" fmla="*/ 349001 h 567236"/>
              <a:gd name="connsiteX6" fmla="*/ 74870 w 493821"/>
              <a:gd name="connsiteY6" fmla="*/ 345400 h 567236"/>
              <a:gd name="connsiteX7" fmla="*/ 80341 w 493821"/>
              <a:gd name="connsiteY7" fmla="*/ 345469 h 567236"/>
              <a:gd name="connsiteX8" fmla="*/ 145099 w 493821"/>
              <a:gd name="connsiteY8" fmla="*/ 344846 h 567236"/>
              <a:gd name="connsiteX9" fmla="*/ 145099 w 493821"/>
              <a:gd name="connsiteY9" fmla="*/ 374904 h 567236"/>
              <a:gd name="connsiteX10" fmla="*/ 85813 w 493821"/>
              <a:gd name="connsiteY10" fmla="*/ 374420 h 567236"/>
              <a:gd name="connsiteX11" fmla="*/ 41764 w 493821"/>
              <a:gd name="connsiteY11" fmla="*/ 457392 h 567236"/>
              <a:gd name="connsiteX12" fmla="*/ 29920 w 493821"/>
              <a:gd name="connsiteY12" fmla="*/ 538496 h 567236"/>
              <a:gd name="connsiteX13" fmla="*/ 464594 w 493821"/>
              <a:gd name="connsiteY13" fmla="*/ 538426 h 567236"/>
              <a:gd name="connsiteX14" fmla="*/ 447556 w 493821"/>
              <a:gd name="connsiteY14" fmla="*/ 448527 h 567236"/>
              <a:gd name="connsiteX15" fmla="*/ 406554 w 493821"/>
              <a:gd name="connsiteY15" fmla="*/ 373935 h 567236"/>
              <a:gd name="connsiteX16" fmla="*/ 338818 w 493821"/>
              <a:gd name="connsiteY16" fmla="*/ 373935 h 567236"/>
              <a:gd name="connsiteX17" fmla="*/ 338818 w 493821"/>
              <a:gd name="connsiteY17" fmla="*/ 344846 h 567236"/>
              <a:gd name="connsiteX18" fmla="*/ 416251 w 493821"/>
              <a:gd name="connsiteY18" fmla="*/ 344846 h 567236"/>
              <a:gd name="connsiteX19" fmla="*/ 422207 w 493821"/>
              <a:gd name="connsiteY19" fmla="*/ 346785 h 567236"/>
              <a:gd name="connsiteX20" fmla="*/ 475329 w 493821"/>
              <a:gd name="connsiteY20" fmla="*/ 439593 h 567236"/>
              <a:gd name="connsiteX21" fmla="*/ 493614 w 493821"/>
              <a:gd name="connsiteY21" fmla="*/ 557750 h 567236"/>
              <a:gd name="connsiteX22" fmla="*/ 493614 w 493821"/>
              <a:gd name="connsiteY22" fmla="*/ 557750 h 567236"/>
              <a:gd name="connsiteX23" fmla="*/ 251620 w 493821"/>
              <a:gd name="connsiteY23" fmla="*/ 519034 h 567236"/>
              <a:gd name="connsiteX24" fmla="*/ 212904 w 493821"/>
              <a:gd name="connsiteY24" fmla="*/ 490014 h 567236"/>
              <a:gd name="connsiteX25" fmla="*/ 237976 w 493821"/>
              <a:gd name="connsiteY25" fmla="*/ 389380 h 567236"/>
              <a:gd name="connsiteX26" fmla="*/ 228488 w 493821"/>
              <a:gd name="connsiteY26" fmla="*/ 373865 h 567236"/>
              <a:gd name="connsiteX27" fmla="*/ 229249 w 493821"/>
              <a:gd name="connsiteY27" fmla="*/ 358005 h 567236"/>
              <a:gd name="connsiteX28" fmla="*/ 270736 w 493821"/>
              <a:gd name="connsiteY28" fmla="*/ 358005 h 567236"/>
              <a:gd name="connsiteX29" fmla="*/ 271498 w 493821"/>
              <a:gd name="connsiteY29" fmla="*/ 373865 h 567236"/>
              <a:gd name="connsiteX30" fmla="*/ 262009 w 493821"/>
              <a:gd name="connsiteY30" fmla="*/ 389380 h 567236"/>
              <a:gd name="connsiteX31" fmla="*/ 290406 w 493821"/>
              <a:gd name="connsiteY31" fmla="*/ 489945 h 567236"/>
              <a:gd name="connsiteX32" fmla="*/ 251620 w 493821"/>
              <a:gd name="connsiteY32" fmla="*/ 519034 h 567236"/>
              <a:gd name="connsiteX33" fmla="*/ 363682 w 493821"/>
              <a:gd name="connsiteY33" fmla="*/ 227381 h 567236"/>
              <a:gd name="connsiteX34" fmla="*/ 322057 w 493821"/>
              <a:gd name="connsiteY34" fmla="*/ 306268 h 567236"/>
              <a:gd name="connsiteX35" fmla="*/ 247257 w 493821"/>
              <a:gd name="connsiteY35" fmla="*/ 345469 h 567236"/>
              <a:gd name="connsiteX36" fmla="*/ 244764 w 493821"/>
              <a:gd name="connsiteY36" fmla="*/ 345954 h 567236"/>
              <a:gd name="connsiteX37" fmla="*/ 242270 w 493821"/>
              <a:gd name="connsiteY37" fmla="*/ 345538 h 567236"/>
              <a:gd name="connsiteX38" fmla="*/ 169617 w 493821"/>
              <a:gd name="connsiteY38" fmla="*/ 308415 h 567236"/>
              <a:gd name="connsiteX39" fmla="*/ 125568 w 493821"/>
              <a:gd name="connsiteY39" fmla="*/ 227935 h 567236"/>
              <a:gd name="connsiteX40" fmla="*/ 105829 w 493821"/>
              <a:gd name="connsiteY40" fmla="*/ 204803 h 567236"/>
              <a:gd name="connsiteX41" fmla="*/ 98972 w 493821"/>
              <a:gd name="connsiteY41" fmla="*/ 160130 h 567236"/>
              <a:gd name="connsiteX42" fmla="*/ 99111 w 493821"/>
              <a:gd name="connsiteY42" fmla="*/ 153204 h 567236"/>
              <a:gd name="connsiteX43" fmla="*/ 104928 w 493821"/>
              <a:gd name="connsiteY43" fmla="*/ 149326 h 567236"/>
              <a:gd name="connsiteX44" fmla="*/ 110815 w 493821"/>
              <a:gd name="connsiteY44" fmla="*/ 145724 h 567236"/>
              <a:gd name="connsiteX45" fmla="*/ 136996 w 493821"/>
              <a:gd name="connsiteY45" fmla="*/ 15378 h 567236"/>
              <a:gd name="connsiteX46" fmla="*/ 250581 w 493821"/>
              <a:gd name="connsiteY46" fmla="*/ 3119 h 567236"/>
              <a:gd name="connsiteX47" fmla="*/ 381136 w 493821"/>
              <a:gd name="connsiteY47" fmla="*/ 147871 h 567236"/>
              <a:gd name="connsiteX48" fmla="*/ 383214 w 493821"/>
              <a:gd name="connsiteY48" fmla="*/ 149187 h 567236"/>
              <a:gd name="connsiteX49" fmla="*/ 389032 w 493821"/>
              <a:gd name="connsiteY49" fmla="*/ 153066 h 567236"/>
              <a:gd name="connsiteX50" fmla="*/ 389170 w 493821"/>
              <a:gd name="connsiteY50" fmla="*/ 159992 h 567236"/>
              <a:gd name="connsiteX51" fmla="*/ 382660 w 493821"/>
              <a:gd name="connsiteY51" fmla="*/ 203972 h 567236"/>
              <a:gd name="connsiteX52" fmla="*/ 363682 w 493821"/>
              <a:gd name="connsiteY52" fmla="*/ 227381 h 567236"/>
              <a:gd name="connsiteX53" fmla="*/ 363682 w 493821"/>
              <a:gd name="connsiteY53" fmla="*/ 227381 h 567236"/>
              <a:gd name="connsiteX54" fmla="*/ 349346 w 493821"/>
              <a:gd name="connsiteY54" fmla="*/ 173567 h 567236"/>
              <a:gd name="connsiteX55" fmla="*/ 347545 w 493821"/>
              <a:gd name="connsiteY55" fmla="*/ 167472 h 567236"/>
              <a:gd name="connsiteX56" fmla="*/ 343666 w 493821"/>
              <a:gd name="connsiteY56" fmla="*/ 167749 h 567236"/>
              <a:gd name="connsiteX57" fmla="*/ 341450 w 493821"/>
              <a:gd name="connsiteY57" fmla="*/ 156113 h 567236"/>
              <a:gd name="connsiteX58" fmla="*/ 333624 w 493821"/>
              <a:gd name="connsiteY58" fmla="*/ 92117 h 567236"/>
              <a:gd name="connsiteX59" fmla="*/ 301210 w 493821"/>
              <a:gd name="connsiteY59" fmla="*/ 82490 h 567236"/>
              <a:gd name="connsiteX60" fmla="*/ 295877 w 493821"/>
              <a:gd name="connsiteY60" fmla="*/ 98974 h 567236"/>
              <a:gd name="connsiteX61" fmla="*/ 287358 w 493821"/>
              <a:gd name="connsiteY61" fmla="*/ 97866 h 567236"/>
              <a:gd name="connsiteX62" fmla="*/ 288467 w 493821"/>
              <a:gd name="connsiteY62" fmla="*/ 87823 h 567236"/>
              <a:gd name="connsiteX63" fmla="*/ 279393 w 493821"/>
              <a:gd name="connsiteY63" fmla="*/ 102160 h 567236"/>
              <a:gd name="connsiteX64" fmla="*/ 271359 w 493821"/>
              <a:gd name="connsiteY64" fmla="*/ 100567 h 567236"/>
              <a:gd name="connsiteX65" fmla="*/ 279255 w 493821"/>
              <a:gd name="connsiteY65" fmla="*/ 79304 h 567236"/>
              <a:gd name="connsiteX66" fmla="*/ 154518 w 493821"/>
              <a:gd name="connsiteY66" fmla="*/ 93918 h 567236"/>
              <a:gd name="connsiteX67" fmla="*/ 151956 w 493821"/>
              <a:gd name="connsiteY67" fmla="*/ 100706 h 567236"/>
              <a:gd name="connsiteX68" fmla="*/ 145792 w 493821"/>
              <a:gd name="connsiteY68" fmla="*/ 165325 h 567236"/>
              <a:gd name="connsiteX69" fmla="*/ 145238 w 493821"/>
              <a:gd name="connsiteY69" fmla="*/ 168164 h 567236"/>
              <a:gd name="connsiteX70" fmla="*/ 145030 w 493821"/>
              <a:gd name="connsiteY70" fmla="*/ 168164 h 567236"/>
              <a:gd name="connsiteX71" fmla="*/ 143783 w 493821"/>
              <a:gd name="connsiteY71" fmla="*/ 172320 h 567236"/>
              <a:gd name="connsiteX72" fmla="*/ 126260 w 493821"/>
              <a:gd name="connsiteY72" fmla="*/ 172805 h 567236"/>
              <a:gd name="connsiteX73" fmla="*/ 130832 w 493821"/>
              <a:gd name="connsiteY73" fmla="*/ 194552 h 567236"/>
              <a:gd name="connsiteX74" fmla="*/ 140736 w 493821"/>
              <a:gd name="connsiteY74" fmla="*/ 205426 h 567236"/>
              <a:gd name="connsiteX75" fmla="*/ 147869 w 493821"/>
              <a:gd name="connsiteY75" fmla="*/ 207642 h 567236"/>
              <a:gd name="connsiteX76" fmla="*/ 149809 w 493821"/>
              <a:gd name="connsiteY76" fmla="*/ 214776 h 567236"/>
              <a:gd name="connsiteX77" fmla="*/ 188940 w 493821"/>
              <a:gd name="connsiteY77" fmla="*/ 289854 h 567236"/>
              <a:gd name="connsiteX78" fmla="*/ 244210 w 493821"/>
              <a:gd name="connsiteY78" fmla="*/ 318735 h 567236"/>
              <a:gd name="connsiteX79" fmla="*/ 302388 w 493821"/>
              <a:gd name="connsiteY79" fmla="*/ 287845 h 567236"/>
              <a:gd name="connsiteX80" fmla="*/ 339095 w 493821"/>
              <a:gd name="connsiteY80" fmla="*/ 214499 h 567236"/>
              <a:gd name="connsiteX81" fmla="*/ 340965 w 493821"/>
              <a:gd name="connsiteY81" fmla="*/ 207642 h 567236"/>
              <a:gd name="connsiteX82" fmla="*/ 347753 w 493821"/>
              <a:gd name="connsiteY82" fmla="*/ 205288 h 567236"/>
              <a:gd name="connsiteX83" fmla="*/ 357518 w 493821"/>
              <a:gd name="connsiteY83" fmla="*/ 194206 h 567236"/>
              <a:gd name="connsiteX84" fmla="*/ 361882 w 493821"/>
              <a:gd name="connsiteY84" fmla="*/ 172874 h 567236"/>
              <a:gd name="connsiteX85" fmla="*/ 349346 w 493821"/>
              <a:gd name="connsiteY85" fmla="*/ 173567 h 567236"/>
              <a:gd name="connsiteX86" fmla="*/ 349346 w 493821"/>
              <a:gd name="connsiteY86" fmla="*/ 173567 h 56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821" h="567236">
                <a:moveTo>
                  <a:pt x="493614" y="557750"/>
                </a:moveTo>
                <a:lnTo>
                  <a:pt x="488558" y="567446"/>
                </a:lnTo>
                <a:lnTo>
                  <a:pt x="0" y="567446"/>
                </a:lnTo>
                <a:lnTo>
                  <a:pt x="277" y="552694"/>
                </a:lnTo>
                <a:cubicBezTo>
                  <a:pt x="831" y="524851"/>
                  <a:pt x="3740" y="487105"/>
                  <a:pt x="13506" y="450120"/>
                </a:cubicBezTo>
                <a:cubicBezTo>
                  <a:pt x="23618" y="412027"/>
                  <a:pt x="41002" y="374627"/>
                  <a:pt x="70645" y="349001"/>
                </a:cubicBezTo>
                <a:lnTo>
                  <a:pt x="74870" y="345400"/>
                </a:lnTo>
                <a:lnTo>
                  <a:pt x="80341" y="345469"/>
                </a:lnTo>
                <a:lnTo>
                  <a:pt x="145099" y="344846"/>
                </a:lnTo>
                <a:lnTo>
                  <a:pt x="145099" y="374904"/>
                </a:lnTo>
                <a:lnTo>
                  <a:pt x="85813" y="374420"/>
                </a:lnTo>
                <a:cubicBezTo>
                  <a:pt x="63719" y="395544"/>
                  <a:pt x="50005" y="426018"/>
                  <a:pt x="41764" y="457392"/>
                </a:cubicBezTo>
                <a:cubicBezTo>
                  <a:pt x="34214" y="485650"/>
                  <a:pt x="31098" y="514532"/>
                  <a:pt x="29920" y="538496"/>
                </a:cubicBezTo>
                <a:lnTo>
                  <a:pt x="464594" y="538426"/>
                </a:lnTo>
                <a:cubicBezTo>
                  <a:pt x="465356" y="511069"/>
                  <a:pt x="457391" y="478794"/>
                  <a:pt x="447556" y="448527"/>
                </a:cubicBezTo>
                <a:cubicBezTo>
                  <a:pt x="437652" y="417984"/>
                  <a:pt x="423523" y="391942"/>
                  <a:pt x="406554" y="373935"/>
                </a:cubicBezTo>
                <a:lnTo>
                  <a:pt x="338818" y="373935"/>
                </a:lnTo>
                <a:lnTo>
                  <a:pt x="338818" y="344846"/>
                </a:lnTo>
                <a:lnTo>
                  <a:pt x="416251" y="344846"/>
                </a:lnTo>
                <a:lnTo>
                  <a:pt x="422207" y="346785"/>
                </a:lnTo>
                <a:cubicBezTo>
                  <a:pt x="444855" y="367978"/>
                  <a:pt x="463278" y="402470"/>
                  <a:pt x="475329" y="439593"/>
                </a:cubicBezTo>
                <a:cubicBezTo>
                  <a:pt x="487865" y="478517"/>
                  <a:pt x="497215" y="524228"/>
                  <a:pt x="493614" y="557750"/>
                </a:cubicBezTo>
                <a:lnTo>
                  <a:pt x="493614" y="557750"/>
                </a:lnTo>
                <a:close/>
                <a:moveTo>
                  <a:pt x="251620" y="519034"/>
                </a:moveTo>
                <a:lnTo>
                  <a:pt x="212904" y="490014"/>
                </a:lnTo>
                <a:lnTo>
                  <a:pt x="237976" y="389380"/>
                </a:lnTo>
                <a:lnTo>
                  <a:pt x="228488" y="373865"/>
                </a:lnTo>
                <a:lnTo>
                  <a:pt x="229249" y="358005"/>
                </a:lnTo>
                <a:cubicBezTo>
                  <a:pt x="247326" y="357035"/>
                  <a:pt x="252659" y="357035"/>
                  <a:pt x="270736" y="358005"/>
                </a:cubicBezTo>
                <a:lnTo>
                  <a:pt x="271498" y="373865"/>
                </a:lnTo>
                <a:lnTo>
                  <a:pt x="262009" y="389380"/>
                </a:lnTo>
                <a:lnTo>
                  <a:pt x="290406" y="489945"/>
                </a:lnTo>
                <a:lnTo>
                  <a:pt x="251620" y="519034"/>
                </a:lnTo>
                <a:close/>
                <a:moveTo>
                  <a:pt x="363682" y="227381"/>
                </a:moveTo>
                <a:cubicBezTo>
                  <a:pt x="353778" y="261665"/>
                  <a:pt x="340203" y="287291"/>
                  <a:pt x="322057" y="306268"/>
                </a:cubicBezTo>
                <a:cubicBezTo>
                  <a:pt x="302526" y="326769"/>
                  <a:pt x="278008" y="339028"/>
                  <a:pt x="247257" y="345469"/>
                </a:cubicBezTo>
                <a:lnTo>
                  <a:pt x="244764" y="345954"/>
                </a:lnTo>
                <a:lnTo>
                  <a:pt x="242270" y="345538"/>
                </a:lnTo>
                <a:cubicBezTo>
                  <a:pt x="214497" y="340898"/>
                  <a:pt x="189979" y="329124"/>
                  <a:pt x="169617" y="308415"/>
                </a:cubicBezTo>
                <a:cubicBezTo>
                  <a:pt x="150917" y="289438"/>
                  <a:pt x="135957" y="263050"/>
                  <a:pt x="125568" y="227935"/>
                </a:cubicBezTo>
                <a:cubicBezTo>
                  <a:pt x="116841" y="223226"/>
                  <a:pt x="110261" y="215330"/>
                  <a:pt x="105829" y="204803"/>
                </a:cubicBezTo>
                <a:cubicBezTo>
                  <a:pt x="100981" y="193236"/>
                  <a:pt x="98695" y="178069"/>
                  <a:pt x="98972" y="160130"/>
                </a:cubicBezTo>
                <a:lnTo>
                  <a:pt x="99111" y="153204"/>
                </a:lnTo>
                <a:lnTo>
                  <a:pt x="104928" y="149326"/>
                </a:lnTo>
                <a:cubicBezTo>
                  <a:pt x="106868" y="148010"/>
                  <a:pt x="108876" y="146833"/>
                  <a:pt x="110815" y="145724"/>
                </a:cubicBezTo>
                <a:cubicBezTo>
                  <a:pt x="101950" y="91840"/>
                  <a:pt x="104305" y="45921"/>
                  <a:pt x="136996" y="15378"/>
                </a:cubicBezTo>
                <a:cubicBezTo>
                  <a:pt x="163037" y="-3530"/>
                  <a:pt x="208749" y="9352"/>
                  <a:pt x="250581" y="3119"/>
                </a:cubicBezTo>
                <a:cubicBezTo>
                  <a:pt x="370054" y="-14750"/>
                  <a:pt x="369223" y="45575"/>
                  <a:pt x="381136" y="147871"/>
                </a:cubicBezTo>
                <a:cubicBezTo>
                  <a:pt x="381829" y="148287"/>
                  <a:pt x="382521" y="148703"/>
                  <a:pt x="383214" y="149187"/>
                </a:cubicBezTo>
                <a:lnTo>
                  <a:pt x="389032" y="153066"/>
                </a:lnTo>
                <a:lnTo>
                  <a:pt x="389170" y="159992"/>
                </a:lnTo>
                <a:cubicBezTo>
                  <a:pt x="389447" y="177584"/>
                  <a:pt x="387300" y="192405"/>
                  <a:pt x="382660" y="203972"/>
                </a:cubicBezTo>
                <a:cubicBezTo>
                  <a:pt x="378435" y="214638"/>
                  <a:pt x="372063" y="222533"/>
                  <a:pt x="363682" y="227381"/>
                </a:cubicBezTo>
                <a:lnTo>
                  <a:pt x="363682" y="227381"/>
                </a:lnTo>
                <a:close/>
                <a:moveTo>
                  <a:pt x="349346" y="173567"/>
                </a:moveTo>
                <a:lnTo>
                  <a:pt x="347545" y="167472"/>
                </a:lnTo>
                <a:lnTo>
                  <a:pt x="343666" y="167749"/>
                </a:lnTo>
                <a:lnTo>
                  <a:pt x="341450" y="156113"/>
                </a:lnTo>
                <a:cubicBezTo>
                  <a:pt x="339719" y="146971"/>
                  <a:pt x="337087" y="99805"/>
                  <a:pt x="333624" y="92117"/>
                </a:cubicBezTo>
                <a:cubicBezTo>
                  <a:pt x="323304" y="96412"/>
                  <a:pt x="311738" y="88447"/>
                  <a:pt x="301210" y="82490"/>
                </a:cubicBezTo>
                <a:lnTo>
                  <a:pt x="295877" y="98974"/>
                </a:lnTo>
                <a:lnTo>
                  <a:pt x="287358" y="97866"/>
                </a:lnTo>
                <a:lnTo>
                  <a:pt x="288467" y="87823"/>
                </a:lnTo>
                <a:lnTo>
                  <a:pt x="279393" y="102160"/>
                </a:lnTo>
                <a:lnTo>
                  <a:pt x="271359" y="100567"/>
                </a:lnTo>
                <a:lnTo>
                  <a:pt x="279255" y="79304"/>
                </a:lnTo>
                <a:cubicBezTo>
                  <a:pt x="237007" y="108463"/>
                  <a:pt x="164145" y="107008"/>
                  <a:pt x="154518" y="93918"/>
                </a:cubicBezTo>
                <a:cubicBezTo>
                  <a:pt x="153064" y="95788"/>
                  <a:pt x="152718" y="98351"/>
                  <a:pt x="151956" y="100706"/>
                </a:cubicBezTo>
                <a:cubicBezTo>
                  <a:pt x="149947" y="108601"/>
                  <a:pt x="147731" y="157568"/>
                  <a:pt x="145792" y="165325"/>
                </a:cubicBezTo>
                <a:lnTo>
                  <a:pt x="145238" y="168164"/>
                </a:lnTo>
                <a:lnTo>
                  <a:pt x="145030" y="168164"/>
                </a:lnTo>
                <a:cubicBezTo>
                  <a:pt x="144614" y="169757"/>
                  <a:pt x="144199" y="171143"/>
                  <a:pt x="143783" y="172320"/>
                </a:cubicBezTo>
                <a:cubicBezTo>
                  <a:pt x="140182" y="169965"/>
                  <a:pt x="132840" y="171835"/>
                  <a:pt x="126260" y="172805"/>
                </a:cubicBezTo>
                <a:cubicBezTo>
                  <a:pt x="126884" y="181462"/>
                  <a:pt x="128338" y="188804"/>
                  <a:pt x="130832" y="194552"/>
                </a:cubicBezTo>
                <a:cubicBezTo>
                  <a:pt x="133256" y="200370"/>
                  <a:pt x="136580" y="204110"/>
                  <a:pt x="140736" y="205426"/>
                </a:cubicBezTo>
                <a:lnTo>
                  <a:pt x="147869" y="207642"/>
                </a:lnTo>
                <a:lnTo>
                  <a:pt x="149809" y="214776"/>
                </a:lnTo>
                <a:cubicBezTo>
                  <a:pt x="159020" y="248436"/>
                  <a:pt x="172318" y="272954"/>
                  <a:pt x="188940" y="289854"/>
                </a:cubicBezTo>
                <a:cubicBezTo>
                  <a:pt x="204455" y="305576"/>
                  <a:pt x="223085" y="314787"/>
                  <a:pt x="244210" y="318735"/>
                </a:cubicBezTo>
                <a:cubicBezTo>
                  <a:pt x="268243" y="313333"/>
                  <a:pt x="287358" y="303567"/>
                  <a:pt x="302388" y="287845"/>
                </a:cubicBezTo>
                <a:cubicBezTo>
                  <a:pt x="318317" y="271153"/>
                  <a:pt x="330230" y="247328"/>
                  <a:pt x="339095" y="214499"/>
                </a:cubicBezTo>
                <a:lnTo>
                  <a:pt x="340965" y="207642"/>
                </a:lnTo>
                <a:lnTo>
                  <a:pt x="347753" y="205288"/>
                </a:lnTo>
                <a:cubicBezTo>
                  <a:pt x="351839" y="203902"/>
                  <a:pt x="355164" y="200024"/>
                  <a:pt x="357518" y="194206"/>
                </a:cubicBezTo>
                <a:cubicBezTo>
                  <a:pt x="359804" y="188527"/>
                  <a:pt x="361258" y="181393"/>
                  <a:pt x="361882" y="172874"/>
                </a:cubicBezTo>
                <a:cubicBezTo>
                  <a:pt x="357934" y="172874"/>
                  <a:pt x="353917" y="172943"/>
                  <a:pt x="349346" y="173567"/>
                </a:cubicBezTo>
                <a:lnTo>
                  <a:pt x="349346" y="173567"/>
                </a:lnTo>
                <a:close/>
              </a:path>
            </a:pathLst>
          </a:custGeom>
          <a:solidFill>
            <a:srgbClr val="83C024"/>
          </a:solidFill>
          <a:ln w="6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35" name="图形 34">
            <a:extLst>
              <a:ext uri="{FF2B5EF4-FFF2-40B4-BE49-F238E27FC236}">
                <a16:creationId xmlns:a16="http://schemas.microsoft.com/office/drawing/2014/main" id="{7DB2A26A-2AD8-4758-84B6-AF097F5CC0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9460" y="4615771"/>
            <a:ext cx="428954" cy="365134"/>
          </a:xfrm>
          <a:prstGeom prst="rect">
            <a:avLst/>
          </a:prstGeom>
        </p:spPr>
      </p:pic>
      <p:grpSp>
        <p:nvGrpSpPr>
          <p:cNvPr id="21" name="组合 20">
            <a:extLst>
              <a:ext uri="{FF2B5EF4-FFF2-40B4-BE49-F238E27FC236}">
                <a16:creationId xmlns:a16="http://schemas.microsoft.com/office/drawing/2014/main" id="{9B9460FE-4B32-4E47-A229-83689FF19111}"/>
              </a:ext>
            </a:extLst>
          </p:cNvPr>
          <p:cNvGrpSpPr/>
          <p:nvPr/>
        </p:nvGrpSpPr>
        <p:grpSpPr>
          <a:xfrm>
            <a:off x="8659779" y="1052316"/>
            <a:ext cx="2955603" cy="1626249"/>
            <a:chOff x="880820" y="1531870"/>
            <a:chExt cx="2509480" cy="1380782"/>
          </a:xfrm>
        </p:grpSpPr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5126801A-F811-4A37-A3DC-DC9415FB826B}"/>
                </a:ext>
              </a:extLst>
            </p:cNvPr>
            <p:cNvSpPr/>
            <p:nvPr/>
          </p:nvSpPr>
          <p:spPr bwMode="auto">
            <a:xfrm>
              <a:off x="880820" y="1531870"/>
              <a:ext cx="2509480" cy="1380782"/>
            </a:xfrm>
            <a:prstGeom prst="rect">
              <a:avLst/>
            </a:prstGeom>
            <a:solidFill>
              <a:schemeClr val="accent3"/>
            </a:solidFill>
            <a:ln w="1270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zh-CN" altLang="en-US" sz="1200" b="1" dirty="0">
                <a:cs typeface="+mn-ea"/>
                <a:sym typeface="+mn-lt"/>
              </a:endParaRP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48E257A3-8649-4131-B2DB-44DEA3D24515}"/>
                </a:ext>
              </a:extLst>
            </p:cNvPr>
            <p:cNvGrpSpPr/>
            <p:nvPr/>
          </p:nvGrpSpPr>
          <p:grpSpPr>
            <a:xfrm>
              <a:off x="1054756" y="1671250"/>
              <a:ext cx="2161608" cy="1141107"/>
              <a:chOff x="922942" y="1427516"/>
              <a:chExt cx="2161608" cy="1141107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C4BC0C62-59C1-438F-B336-F075AD3226C9}"/>
                  </a:ext>
                </a:extLst>
              </p:cNvPr>
              <p:cNvSpPr txBox="1"/>
              <p:nvPr/>
            </p:nvSpPr>
            <p:spPr>
              <a:xfrm>
                <a:off x="922942" y="2243766"/>
                <a:ext cx="2161608" cy="324857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r>
                  <a:rPr lang="zh-CN" altLang="en-US" sz="16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工商管理硕士（</a:t>
                </a:r>
                <a:r>
                  <a:rPr lang="en-US" altLang="zh-CN" sz="16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MBA</a:t>
                </a:r>
                <a:r>
                  <a:rPr lang="zh-CN" altLang="en-US" sz="166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）</a:t>
                </a:r>
                <a:endParaRPr lang="zh-CN" altLang="en-US" sz="16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14F076F6-CE40-405D-9857-2393F3E2D989}"/>
                  </a:ext>
                </a:extLst>
              </p:cNvPr>
              <p:cNvSpPr txBox="1"/>
              <p:nvPr/>
            </p:nvSpPr>
            <p:spPr>
              <a:xfrm>
                <a:off x="926965" y="1427516"/>
                <a:ext cx="2157585" cy="671186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Plain">
                  <a:avLst/>
                </a:prstTxWarp>
                <a:spAutoFit/>
              </a:bodyPr>
              <a:lstStyle/>
              <a:p>
                <a:pPr algn="ctr"/>
                <a:r>
                  <a:rPr lang="en-US" altLang="zh-CN" sz="9600" dirty="0">
                    <a:solidFill>
                      <a:schemeClr val="bg1"/>
                    </a:solidFill>
                    <a:cs typeface="+mn-ea"/>
                    <a:sym typeface="+mn-lt"/>
                  </a:rPr>
                  <a:t>20XX</a:t>
                </a:r>
                <a:endParaRPr lang="zh-CN" altLang="en-US" sz="9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8" name="等腰三角形 7">
            <a:extLst>
              <a:ext uri="{FF2B5EF4-FFF2-40B4-BE49-F238E27FC236}">
                <a16:creationId xmlns:a16="http://schemas.microsoft.com/office/drawing/2014/main" id="{C9672955-1286-4604-94C8-17F536598117}"/>
              </a:ext>
            </a:extLst>
          </p:cNvPr>
          <p:cNvSpPr/>
          <p:nvPr/>
        </p:nvSpPr>
        <p:spPr>
          <a:xfrm flipV="1">
            <a:off x="9797178" y="2676129"/>
            <a:ext cx="886179" cy="602695"/>
          </a:xfrm>
          <a:prstGeom prst="triangle">
            <a:avLst>
              <a:gd name="adj" fmla="val 0"/>
            </a:avLst>
          </a:prstGeom>
          <a:solidFill>
            <a:schemeClr val="accent3"/>
          </a:solidFill>
          <a:ln w="1270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zh-CN" altLang="en-US" sz="1200" b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副标题 9">
            <a:extLst>
              <a:ext uri="{FF2B5EF4-FFF2-40B4-BE49-F238E27FC236}">
                <a16:creationId xmlns:a16="http://schemas.microsoft.com/office/drawing/2014/main" id="{24507789-EC34-904F-EE82-8114D93031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354" y="3859236"/>
            <a:ext cx="10845800" cy="558799"/>
          </a:xfrm>
        </p:spPr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777F9EF-F1DE-44EE-983A-0D3C1B661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2C87320-AFBD-407F-922B-82E65F8A3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9ACD61B-656F-497C-A904-32C1087EF9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6F8C9F2B-4EBF-4D6A-A62B-D6B31C9E6C8F}"/>
              </a:ext>
            </a:extLst>
          </p:cNvPr>
          <p:cNvGrpSpPr/>
          <p:nvPr/>
        </p:nvGrpSpPr>
        <p:grpSpPr>
          <a:xfrm>
            <a:off x="5226152" y="1399294"/>
            <a:ext cx="3392747" cy="3152848"/>
            <a:chOff x="5226152" y="1399294"/>
            <a:chExt cx="3392747" cy="3152848"/>
          </a:xfrm>
        </p:grpSpPr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D807E39-BFD8-4F96-ADE5-4F568C171C1A}"/>
                </a:ext>
              </a:extLst>
            </p:cNvPr>
            <p:cNvSpPr/>
            <p:nvPr/>
          </p:nvSpPr>
          <p:spPr>
            <a:xfrm rot="21412315" flipH="1">
              <a:off x="6949878" y="1399294"/>
              <a:ext cx="1669021" cy="31094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642" y="0"/>
                  </a:moveTo>
                  <a:lnTo>
                    <a:pt x="0" y="21117"/>
                  </a:lnTo>
                  <a:lnTo>
                    <a:pt x="1654" y="21600"/>
                  </a:lnTo>
                  <a:lnTo>
                    <a:pt x="21600" y="156"/>
                  </a:lnTo>
                  <a:lnTo>
                    <a:pt x="19642" y="0"/>
                  </a:ln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rgbClr val="CFCFC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D042E71-FACA-4147-B9FB-8C3CAFCE8A96}"/>
                </a:ext>
              </a:extLst>
            </p:cNvPr>
            <p:cNvSpPr/>
            <p:nvPr/>
          </p:nvSpPr>
          <p:spPr>
            <a:xfrm rot="21412315" flipH="1">
              <a:off x="5420891" y="1465157"/>
              <a:ext cx="3071741" cy="3086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38" y="0"/>
                  </a:moveTo>
                  <a:lnTo>
                    <a:pt x="0" y="21600"/>
                  </a:lnTo>
                  <a:lnTo>
                    <a:pt x="21600" y="18579"/>
                  </a:lnTo>
                  <a:cubicBezTo>
                    <a:pt x="21600" y="18579"/>
                    <a:pt x="10838" y="0"/>
                    <a:pt x="1083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586088FD-47CD-4521-9BB9-05BD44271C05}"/>
                </a:ext>
              </a:extLst>
            </p:cNvPr>
            <p:cNvSpPr/>
            <p:nvPr/>
          </p:nvSpPr>
          <p:spPr>
            <a:xfrm rot="21412315" flipH="1">
              <a:off x="6343384" y="2377356"/>
              <a:ext cx="1155652" cy="21286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211" y="0"/>
                  </a:moveTo>
                  <a:lnTo>
                    <a:pt x="0" y="20894"/>
                  </a:lnTo>
                  <a:lnTo>
                    <a:pt x="2389" y="21600"/>
                  </a:lnTo>
                  <a:lnTo>
                    <a:pt x="21600" y="706"/>
                  </a:lnTo>
                  <a:cubicBezTo>
                    <a:pt x="21600" y="706"/>
                    <a:pt x="19211" y="0"/>
                    <a:pt x="19211" y="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rgbClr val="CFCFC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40438C7-77D6-44FF-BA57-0B2A1E31A3D3}"/>
                </a:ext>
              </a:extLst>
            </p:cNvPr>
            <p:cNvSpPr/>
            <p:nvPr/>
          </p:nvSpPr>
          <p:spPr>
            <a:xfrm rot="21412315" flipH="1">
              <a:off x="5324800" y="2477731"/>
              <a:ext cx="2048794" cy="20591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36" y="0"/>
                  </a:moveTo>
                  <a:lnTo>
                    <a:pt x="0" y="21600"/>
                  </a:lnTo>
                  <a:lnTo>
                    <a:pt x="21600" y="18579"/>
                  </a:lnTo>
                  <a:cubicBezTo>
                    <a:pt x="21600" y="18579"/>
                    <a:pt x="10836" y="0"/>
                    <a:pt x="10836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5F10F2F4-EB9A-4851-B05C-2A0C555954D2}"/>
                </a:ext>
              </a:extLst>
            </p:cNvPr>
            <p:cNvSpPr/>
            <p:nvPr/>
          </p:nvSpPr>
          <p:spPr>
            <a:xfrm rot="21412315" flipH="1">
              <a:off x="5735270" y="3380285"/>
              <a:ext cx="646997" cy="1109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32" y="0"/>
                  </a:moveTo>
                  <a:lnTo>
                    <a:pt x="0" y="20246"/>
                  </a:lnTo>
                  <a:lnTo>
                    <a:pt x="4266" y="21600"/>
                  </a:lnTo>
                  <a:lnTo>
                    <a:pt x="21600" y="1354"/>
                  </a:lnTo>
                  <a:cubicBezTo>
                    <a:pt x="21600" y="1354"/>
                    <a:pt x="17332" y="0"/>
                    <a:pt x="17332" y="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rgbClr val="CFCFCF"/>
              </a:solidFill>
              <a:prstDash val="solid"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289EDD3-85F9-414C-92A4-1DFC03732032}"/>
                </a:ext>
              </a:extLst>
            </p:cNvPr>
            <p:cNvSpPr/>
            <p:nvPr/>
          </p:nvSpPr>
          <p:spPr>
            <a:xfrm rot="21412315" flipH="1">
              <a:off x="5226152" y="3463117"/>
              <a:ext cx="1034837" cy="10401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38" y="0"/>
                  </a:moveTo>
                  <a:lnTo>
                    <a:pt x="0" y="21600"/>
                  </a:lnTo>
                  <a:lnTo>
                    <a:pt x="21600" y="18579"/>
                  </a:lnTo>
                  <a:cubicBezTo>
                    <a:pt x="21600" y="18579"/>
                    <a:pt x="10838" y="0"/>
                    <a:pt x="10838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7" name="椭圆 6">
            <a:extLst>
              <a:ext uri="{FF2B5EF4-FFF2-40B4-BE49-F238E27FC236}">
                <a16:creationId xmlns:a16="http://schemas.microsoft.com/office/drawing/2014/main" id="{E22CA93C-43B0-4482-BF11-91D542CEB85F}"/>
              </a:ext>
            </a:extLst>
          </p:cNvPr>
          <p:cNvSpPr/>
          <p:nvPr/>
        </p:nvSpPr>
        <p:spPr>
          <a:xfrm>
            <a:off x="7505818" y="2380597"/>
            <a:ext cx="922958" cy="9229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>
                <a:solidFill>
                  <a:schemeClr val="tx1"/>
                </a:solidFill>
                <a:cs typeface="+mn-ea"/>
                <a:sym typeface="+mn-lt"/>
              </a:rPr>
              <a:t>1</a:t>
            </a:r>
            <a:endParaRPr lang="en-US" altLang="zh-CN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E32E13E-D710-4642-B955-57480CABB9BC}"/>
              </a:ext>
            </a:extLst>
          </p:cNvPr>
          <p:cNvSpPr/>
          <p:nvPr/>
        </p:nvSpPr>
        <p:spPr>
          <a:xfrm>
            <a:off x="5087888" y="4150088"/>
            <a:ext cx="593984" cy="59398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800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lang="en-US" altLang="zh-CN" sz="18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06A272F3-C880-4595-B9BA-0383397CB615}"/>
              </a:ext>
            </a:extLst>
          </p:cNvPr>
          <p:cNvSpPr/>
          <p:nvPr/>
        </p:nvSpPr>
        <p:spPr>
          <a:xfrm>
            <a:off x="7282282" y="4152505"/>
            <a:ext cx="593984" cy="59398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800">
                <a:solidFill>
                  <a:schemeClr val="tx1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10" name="矩形: 剪去左右顶角 9">
            <a:extLst>
              <a:ext uri="{FF2B5EF4-FFF2-40B4-BE49-F238E27FC236}">
                <a16:creationId xmlns:a16="http://schemas.microsoft.com/office/drawing/2014/main" id="{998FB89B-94D0-41E1-B5C1-AA418FDB780A}"/>
              </a:ext>
            </a:extLst>
          </p:cNvPr>
          <p:cNvSpPr/>
          <p:nvPr/>
        </p:nvSpPr>
        <p:spPr>
          <a:xfrm>
            <a:off x="4367810" y="5423565"/>
            <a:ext cx="2448270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178FB4B-C75D-4D59-A03E-1BE99E998060}"/>
              </a:ext>
            </a:extLst>
          </p:cNvPr>
          <p:cNvSpPr txBox="1"/>
          <p:nvPr/>
        </p:nvSpPr>
        <p:spPr bwMode="auto">
          <a:xfrm>
            <a:off x="4367809" y="4891337"/>
            <a:ext cx="244827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2" name="矩形: 剪去左右顶角 11">
            <a:extLst>
              <a:ext uri="{FF2B5EF4-FFF2-40B4-BE49-F238E27FC236}">
                <a16:creationId xmlns:a16="http://schemas.microsoft.com/office/drawing/2014/main" id="{A8542C11-9F1A-492A-8631-AFFA3189D55C}"/>
              </a:ext>
            </a:extLst>
          </p:cNvPr>
          <p:cNvSpPr/>
          <p:nvPr/>
        </p:nvSpPr>
        <p:spPr>
          <a:xfrm>
            <a:off x="7282283" y="5423565"/>
            <a:ext cx="2448270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54D7AC4-6A85-4631-9A30-F1115126AFC1}"/>
              </a:ext>
            </a:extLst>
          </p:cNvPr>
          <p:cNvSpPr txBox="1"/>
          <p:nvPr/>
        </p:nvSpPr>
        <p:spPr bwMode="auto">
          <a:xfrm>
            <a:off x="7282282" y="4891337"/>
            <a:ext cx="244827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4" name="矩形: 剪去左右顶角 13">
            <a:extLst>
              <a:ext uri="{FF2B5EF4-FFF2-40B4-BE49-F238E27FC236}">
                <a16:creationId xmlns:a16="http://schemas.microsoft.com/office/drawing/2014/main" id="{740CBEBA-0B64-4A71-A759-860D88262133}"/>
              </a:ext>
            </a:extLst>
          </p:cNvPr>
          <p:cNvSpPr/>
          <p:nvPr/>
        </p:nvSpPr>
        <p:spPr>
          <a:xfrm>
            <a:off x="8780063" y="2786672"/>
            <a:ext cx="2739853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A4C4378-4A70-460F-AE06-ED27695C5AE7}"/>
              </a:ext>
            </a:extLst>
          </p:cNvPr>
          <p:cNvSpPr txBox="1"/>
          <p:nvPr/>
        </p:nvSpPr>
        <p:spPr bwMode="auto">
          <a:xfrm>
            <a:off x="8780062" y="2254444"/>
            <a:ext cx="273985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E29AEA8C-67DE-43BC-9FDF-CD91CC281074}"/>
              </a:ext>
            </a:extLst>
          </p:cNvPr>
          <p:cNvCxnSpPr>
            <a:cxnSpLocks/>
          </p:cNvCxnSpPr>
          <p:nvPr/>
        </p:nvCxnSpPr>
        <p:spPr>
          <a:xfrm>
            <a:off x="6582147" y="5013176"/>
            <a:ext cx="0" cy="108917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4FF319A3-38DA-4528-A470-E914D98045E0}"/>
              </a:ext>
            </a:extLst>
          </p:cNvPr>
          <p:cNvSpPr txBox="1"/>
          <p:nvPr/>
        </p:nvSpPr>
        <p:spPr>
          <a:xfrm>
            <a:off x="776857" y="2493631"/>
            <a:ext cx="397094" cy="37493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prstTxWarp prst="textPlain">
              <a:avLst/>
            </a:prstTxWarp>
            <a:noAutofit/>
          </a:bodyPr>
          <a:lstStyle/>
          <a:p>
            <a:r>
              <a:rPr lang="en-US" sz="4800" dirty="0">
                <a:cs typeface="+mn-ea"/>
                <a:sym typeface="+mn-lt"/>
              </a:rPr>
              <a:t>“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0562A9E-115B-4C67-8B3D-CDD7543EBEE9}"/>
              </a:ext>
            </a:extLst>
          </p:cNvPr>
          <p:cNvSpPr/>
          <p:nvPr/>
        </p:nvSpPr>
        <p:spPr>
          <a:xfrm>
            <a:off x="672084" y="2935236"/>
            <a:ext cx="3227854" cy="40793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800" b="1" dirty="0">
                <a:cs typeface="+mn-ea"/>
                <a:sym typeface="+mn-lt"/>
              </a:rPr>
              <a:t>Supporting text here</a:t>
            </a:r>
            <a:endParaRPr lang="zh-CN" altLang="en-US" sz="1800" b="1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4168F20-2B2B-4B0A-98FA-24BB474C67E2}"/>
              </a:ext>
            </a:extLst>
          </p:cNvPr>
          <p:cNvSpPr/>
          <p:nvPr/>
        </p:nvSpPr>
        <p:spPr>
          <a:xfrm>
            <a:off x="672083" y="3343170"/>
            <a:ext cx="3227855" cy="1114060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6FE0273A-4806-404E-878E-E79C906C5FDB}"/>
              </a:ext>
            </a:extLst>
          </p:cNvPr>
          <p:cNvCxnSpPr>
            <a:cxnSpLocks/>
          </p:cNvCxnSpPr>
          <p:nvPr/>
        </p:nvCxnSpPr>
        <p:spPr>
          <a:xfrm>
            <a:off x="3647728" y="1451468"/>
            <a:ext cx="0" cy="478582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875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2A161FA-17D1-4591-AC7E-688A7BF66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DC30575-BB64-453E-B29B-B83215CC5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2FEF526-386B-4916-9EF7-586076096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74CAF63E-485E-45B9-A4D9-EE7C5C808B19}"/>
              </a:ext>
            </a:extLst>
          </p:cNvPr>
          <p:cNvSpPr/>
          <p:nvPr/>
        </p:nvSpPr>
        <p:spPr bwMode="auto">
          <a:xfrm>
            <a:off x="10329567" y="1439863"/>
            <a:ext cx="1190921" cy="1292225"/>
          </a:xfrm>
          <a:custGeom>
            <a:avLst/>
            <a:gdLst>
              <a:gd name="T0" fmla="*/ 828 w 828"/>
              <a:gd name="T1" fmla="*/ 0 h 777"/>
              <a:gd name="T2" fmla="*/ 828 w 828"/>
              <a:gd name="T3" fmla="*/ 777 h 777"/>
              <a:gd name="T4" fmla="*/ 0 w 828"/>
              <a:gd name="T5" fmla="*/ 0 h 777"/>
              <a:gd name="T6" fmla="*/ 828 w 828"/>
              <a:gd name="T7" fmla="*/ 0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28" h="777">
                <a:moveTo>
                  <a:pt x="828" y="0"/>
                </a:moveTo>
                <a:lnTo>
                  <a:pt x="828" y="777"/>
                </a:lnTo>
                <a:lnTo>
                  <a:pt x="0" y="0"/>
                </a:lnTo>
                <a:lnTo>
                  <a:pt x="828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3D68305-91EC-433B-80C9-69255DDB56C7}"/>
              </a:ext>
            </a:extLst>
          </p:cNvPr>
          <p:cNvSpPr/>
          <p:nvPr/>
        </p:nvSpPr>
        <p:spPr>
          <a:xfrm>
            <a:off x="6193463" y="1439862"/>
            <a:ext cx="5327025" cy="204772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 anchorCtr="1"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DBBDBEC-3DA0-4C4A-9180-229C44C4B8EE}"/>
              </a:ext>
            </a:extLst>
          </p:cNvPr>
          <p:cNvSpPr/>
          <p:nvPr/>
        </p:nvSpPr>
        <p:spPr bwMode="auto">
          <a:xfrm>
            <a:off x="669926" y="1439861"/>
            <a:ext cx="1190921" cy="1292225"/>
          </a:xfrm>
          <a:custGeom>
            <a:avLst/>
            <a:gdLst>
              <a:gd name="T0" fmla="*/ 0 w 827"/>
              <a:gd name="T1" fmla="*/ 0 h 776"/>
              <a:gd name="T2" fmla="*/ 827 w 827"/>
              <a:gd name="T3" fmla="*/ 0 h 776"/>
              <a:gd name="T4" fmla="*/ 0 w 827"/>
              <a:gd name="T5" fmla="*/ 776 h 776"/>
              <a:gd name="T6" fmla="*/ 0 w 827"/>
              <a:gd name="T7" fmla="*/ 0 h 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27" h="776">
                <a:moveTo>
                  <a:pt x="0" y="0"/>
                </a:moveTo>
                <a:lnTo>
                  <a:pt x="827" y="0"/>
                </a:lnTo>
                <a:lnTo>
                  <a:pt x="0" y="7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E583007-8CDF-4A63-BBE0-71A1459CD205}"/>
              </a:ext>
            </a:extLst>
          </p:cNvPr>
          <p:cNvSpPr/>
          <p:nvPr/>
        </p:nvSpPr>
        <p:spPr>
          <a:xfrm>
            <a:off x="669926" y="1439860"/>
            <a:ext cx="5327319" cy="204773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 anchorCtr="1"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673E02E-5BBE-430F-9FAC-53B5513481EF}"/>
              </a:ext>
            </a:extLst>
          </p:cNvPr>
          <p:cNvSpPr/>
          <p:nvPr/>
        </p:nvSpPr>
        <p:spPr>
          <a:xfrm>
            <a:off x="669926" y="3676792"/>
            <a:ext cx="5327319" cy="24255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 anchorCtr="1"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00F117E-F3BD-4685-B10A-9FCF9C845BDC}"/>
              </a:ext>
            </a:extLst>
          </p:cNvPr>
          <p:cNvSpPr/>
          <p:nvPr/>
        </p:nvSpPr>
        <p:spPr>
          <a:xfrm>
            <a:off x="669925" y="4567022"/>
            <a:ext cx="5327320" cy="1528693"/>
          </a:xfrm>
          <a:prstGeom prst="rect">
            <a:avLst/>
          </a:prstGeom>
          <a:ln w="12700">
            <a:noFill/>
            <a:prstDash val="dash"/>
          </a:ln>
        </p:spPr>
        <p:txBody>
          <a:bodyPr wrap="square" lIns="91440" tIns="45720" rIns="91440" bIns="4572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2CEED78-2A8B-4BE4-B0FB-4E4FBB47B817}"/>
              </a:ext>
            </a:extLst>
          </p:cNvPr>
          <p:cNvSpPr/>
          <p:nvPr/>
        </p:nvSpPr>
        <p:spPr bwMode="auto">
          <a:xfrm>
            <a:off x="669924" y="4810121"/>
            <a:ext cx="1190921" cy="1292225"/>
          </a:xfrm>
          <a:custGeom>
            <a:avLst/>
            <a:gdLst>
              <a:gd name="T0" fmla="*/ 0 w 865"/>
              <a:gd name="T1" fmla="*/ 814 h 814"/>
              <a:gd name="T2" fmla="*/ 0 w 865"/>
              <a:gd name="T3" fmla="*/ 0 h 814"/>
              <a:gd name="T4" fmla="*/ 865 w 865"/>
              <a:gd name="T5" fmla="*/ 814 h 814"/>
              <a:gd name="T6" fmla="*/ 0 w 865"/>
              <a:gd name="T7" fmla="*/ 814 h 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65" h="814">
                <a:moveTo>
                  <a:pt x="0" y="814"/>
                </a:moveTo>
                <a:lnTo>
                  <a:pt x="0" y="0"/>
                </a:lnTo>
                <a:lnTo>
                  <a:pt x="865" y="814"/>
                </a:lnTo>
                <a:lnTo>
                  <a:pt x="0" y="8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C30B1F94-C6C3-4BFC-BB9A-C1260C8A2ABA}"/>
              </a:ext>
            </a:extLst>
          </p:cNvPr>
          <p:cNvSpPr txBox="1"/>
          <p:nvPr/>
        </p:nvSpPr>
        <p:spPr>
          <a:xfrm rot="18900000">
            <a:off x="746595" y="1565125"/>
            <a:ext cx="531613" cy="419870"/>
          </a:xfrm>
          <a:prstGeom prst="rect">
            <a:avLst/>
          </a:prstGeom>
          <a:noFill/>
        </p:spPr>
        <p:txBody>
          <a:bodyPr wrap="none" lIns="91440" tIns="45720" rIns="91440" bIns="4572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cs typeface="+mn-ea"/>
                <a:sym typeface="+mn-lt"/>
              </a:rPr>
              <a:t>Q1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9702D3B-BBC8-47A1-A3D0-F95D6FBD4FF3}"/>
              </a:ext>
            </a:extLst>
          </p:cNvPr>
          <p:cNvSpPr txBox="1"/>
          <p:nvPr/>
        </p:nvSpPr>
        <p:spPr>
          <a:xfrm rot="2700000">
            <a:off x="10892998" y="1554258"/>
            <a:ext cx="501511" cy="445071"/>
          </a:xfrm>
          <a:prstGeom prst="rect">
            <a:avLst/>
          </a:prstGeom>
          <a:noFill/>
        </p:spPr>
        <p:txBody>
          <a:bodyPr wrap="none" lIns="91440" tIns="45720" rIns="91440" bIns="4572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cs typeface="+mn-ea"/>
                <a:sym typeface="+mn-lt"/>
              </a:rPr>
              <a:t>Q2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2300968-3553-4C16-B8B9-530425732A98}"/>
              </a:ext>
            </a:extLst>
          </p:cNvPr>
          <p:cNvSpPr txBox="1"/>
          <p:nvPr/>
        </p:nvSpPr>
        <p:spPr>
          <a:xfrm rot="2720180">
            <a:off x="763502" y="5491848"/>
            <a:ext cx="501511" cy="445071"/>
          </a:xfrm>
          <a:prstGeom prst="rect">
            <a:avLst/>
          </a:prstGeom>
          <a:noFill/>
        </p:spPr>
        <p:txBody>
          <a:bodyPr wrap="none" lIns="91440" tIns="45720" rIns="91440" bIns="4572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cs typeface="+mn-ea"/>
                <a:sym typeface="+mn-lt"/>
              </a:rPr>
              <a:t>Q3</a:t>
            </a: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C2017436-4A0A-4760-B354-D855C6647842}"/>
              </a:ext>
            </a:extLst>
          </p:cNvPr>
          <p:cNvSpPr/>
          <p:nvPr/>
        </p:nvSpPr>
        <p:spPr bwMode="auto">
          <a:xfrm>
            <a:off x="10329568" y="4810124"/>
            <a:ext cx="1190921" cy="1292225"/>
          </a:xfrm>
          <a:custGeom>
            <a:avLst/>
            <a:gdLst>
              <a:gd name="T0" fmla="*/ 809 w 809"/>
              <a:gd name="T1" fmla="*/ 863 h 863"/>
              <a:gd name="T2" fmla="*/ 0 w 809"/>
              <a:gd name="T3" fmla="*/ 863 h 863"/>
              <a:gd name="T4" fmla="*/ 809 w 809"/>
              <a:gd name="T5" fmla="*/ 0 h 863"/>
              <a:gd name="T6" fmla="*/ 809 w 809"/>
              <a:gd name="T7" fmla="*/ 863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09" h="863">
                <a:moveTo>
                  <a:pt x="809" y="863"/>
                </a:moveTo>
                <a:lnTo>
                  <a:pt x="0" y="863"/>
                </a:lnTo>
                <a:lnTo>
                  <a:pt x="809" y="0"/>
                </a:lnTo>
                <a:lnTo>
                  <a:pt x="809" y="8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4719E46F-3F28-4B8C-B0EB-B7CF60E4CBD1}"/>
              </a:ext>
            </a:extLst>
          </p:cNvPr>
          <p:cNvSpPr/>
          <p:nvPr/>
        </p:nvSpPr>
        <p:spPr>
          <a:xfrm>
            <a:off x="6193463" y="3676795"/>
            <a:ext cx="5327026" cy="2425554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t" anchorCtr="1">
            <a:noAutofit/>
          </a:bodyPr>
          <a:lstStyle/>
          <a:p>
            <a:pPr algn="ctr">
              <a:lnSpc>
                <a:spcPct val="120000"/>
              </a:lnSpc>
            </a:pP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A6A9F478-596B-47B0-9A4D-4D049F1214E7}"/>
              </a:ext>
            </a:extLst>
          </p:cNvPr>
          <p:cNvSpPr txBox="1"/>
          <p:nvPr/>
        </p:nvSpPr>
        <p:spPr>
          <a:xfrm rot="19095347">
            <a:off x="10881381" y="5511663"/>
            <a:ext cx="531613" cy="419870"/>
          </a:xfrm>
          <a:prstGeom prst="rect">
            <a:avLst/>
          </a:prstGeom>
          <a:noFill/>
        </p:spPr>
        <p:txBody>
          <a:bodyPr wrap="none" lIns="91440" tIns="45720" rIns="91440" bIns="4572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cs typeface="+mn-ea"/>
                <a:sym typeface="+mn-lt"/>
              </a:rPr>
              <a:t>Q4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B322CC2-4DBB-4085-9501-5A4C4DE30E60}"/>
              </a:ext>
            </a:extLst>
          </p:cNvPr>
          <p:cNvSpPr/>
          <p:nvPr/>
        </p:nvSpPr>
        <p:spPr>
          <a:xfrm>
            <a:off x="669925" y="1951766"/>
            <a:ext cx="5327320" cy="1528693"/>
          </a:xfrm>
          <a:prstGeom prst="rect">
            <a:avLst/>
          </a:prstGeom>
          <a:ln w="12700">
            <a:noFill/>
            <a:prstDash val="dash"/>
          </a:ln>
        </p:spPr>
        <p:txBody>
          <a:bodyPr wrap="square" lIns="91440" tIns="45720" rIns="91440" bIns="4572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C445BFE-8067-4CF7-91DF-5E264F9FCE92}"/>
              </a:ext>
            </a:extLst>
          </p:cNvPr>
          <p:cNvSpPr/>
          <p:nvPr/>
        </p:nvSpPr>
        <p:spPr>
          <a:xfrm>
            <a:off x="6193462" y="1951766"/>
            <a:ext cx="5327026" cy="1528693"/>
          </a:xfrm>
          <a:prstGeom prst="rect">
            <a:avLst/>
          </a:prstGeom>
          <a:ln w="12700">
            <a:noFill/>
            <a:prstDash val="dash"/>
          </a:ln>
        </p:spPr>
        <p:txBody>
          <a:bodyPr wrap="square" lIns="91440" tIns="45720" rIns="91440" bIns="4572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F6B131DF-1472-4F3C-BACE-ED9E5264407C}"/>
              </a:ext>
            </a:extLst>
          </p:cNvPr>
          <p:cNvSpPr/>
          <p:nvPr/>
        </p:nvSpPr>
        <p:spPr>
          <a:xfrm>
            <a:off x="6193462" y="4567022"/>
            <a:ext cx="5327026" cy="1528693"/>
          </a:xfrm>
          <a:prstGeom prst="rect">
            <a:avLst/>
          </a:prstGeom>
          <a:ln w="12700">
            <a:noFill/>
            <a:prstDash val="dash"/>
          </a:ln>
        </p:spPr>
        <p:txBody>
          <a:bodyPr wrap="square" lIns="91440" tIns="45720" rIns="91440" bIns="45720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 algn="ct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2" name="菱形 21">
            <a:extLst>
              <a:ext uri="{FF2B5EF4-FFF2-40B4-BE49-F238E27FC236}">
                <a16:creationId xmlns:a16="http://schemas.microsoft.com/office/drawing/2014/main" id="{94CD8C15-705F-4F47-9738-E04F0B9A2351}"/>
              </a:ext>
            </a:extLst>
          </p:cNvPr>
          <p:cNvSpPr/>
          <p:nvPr/>
        </p:nvSpPr>
        <p:spPr bwMode="auto">
          <a:xfrm>
            <a:off x="4970532" y="2461378"/>
            <a:ext cx="2250936" cy="2250936"/>
          </a:xfrm>
          <a:prstGeom prst="diamond">
            <a:avLst/>
          </a:prstGeom>
          <a:solidFill>
            <a:schemeClr val="bg1"/>
          </a:solidFill>
          <a:ln w="34925">
            <a:solidFill>
              <a:schemeClr val="accent1"/>
            </a:solidFill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F2A64453-BA7D-46C2-A624-689EB39C7443}"/>
              </a:ext>
            </a:extLst>
          </p:cNvPr>
          <p:cNvSpPr/>
          <p:nvPr/>
        </p:nvSpPr>
        <p:spPr>
          <a:xfrm>
            <a:off x="5868729" y="3005661"/>
            <a:ext cx="454544" cy="431171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CC9A1F1-834B-4C65-9AF7-355710D41955}"/>
              </a:ext>
            </a:extLst>
          </p:cNvPr>
          <p:cNvSpPr txBox="1"/>
          <p:nvPr/>
        </p:nvSpPr>
        <p:spPr>
          <a:xfrm>
            <a:off x="5093177" y="3500758"/>
            <a:ext cx="2005648" cy="43317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761564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>
            <a:extLst>
              <a:ext uri="{FF2B5EF4-FFF2-40B4-BE49-F238E27FC236}">
                <a16:creationId xmlns:a16="http://schemas.microsoft.com/office/drawing/2014/main" id="{7CEB781A-6F3B-F755-3F03-A5D81E472D45}"/>
              </a:ext>
            </a:extLst>
          </p:cNvPr>
          <p:cNvGrpSpPr/>
          <p:nvPr/>
        </p:nvGrpSpPr>
        <p:grpSpPr>
          <a:xfrm>
            <a:off x="671512" y="3019425"/>
            <a:ext cx="3970904" cy="1390650"/>
            <a:chOff x="671512" y="3019425"/>
            <a:chExt cx="3970904" cy="1390650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68133741-8B38-448A-A84B-1E09A83BD8E1}"/>
                </a:ext>
              </a:extLst>
            </p:cNvPr>
            <p:cNvSpPr/>
            <p:nvPr/>
          </p:nvSpPr>
          <p:spPr>
            <a:xfrm>
              <a:off x="671512" y="3019425"/>
              <a:ext cx="3970904" cy="1390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矩形: 剪去左右顶角 19">
              <a:extLst>
                <a:ext uri="{FF2B5EF4-FFF2-40B4-BE49-F238E27FC236}">
                  <a16:creationId xmlns:a16="http://schemas.microsoft.com/office/drawing/2014/main" id="{101878EF-90E3-46A2-9FBA-D21F6BA9B8CB}"/>
                </a:ext>
              </a:extLst>
            </p:cNvPr>
            <p:cNvSpPr/>
            <p:nvPr/>
          </p:nvSpPr>
          <p:spPr>
            <a:xfrm>
              <a:off x="682944" y="3303658"/>
              <a:ext cx="3279808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5D9BA004-CE9C-E4D5-A9ED-73290E3955D1}"/>
              </a:ext>
            </a:extLst>
          </p:cNvPr>
          <p:cNvGrpSpPr/>
          <p:nvPr/>
        </p:nvGrpSpPr>
        <p:grpSpPr>
          <a:xfrm>
            <a:off x="7744698" y="3019425"/>
            <a:ext cx="3775790" cy="1390650"/>
            <a:chOff x="7744698" y="3019425"/>
            <a:chExt cx="3775790" cy="139065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E0DC43E-5D92-4523-9CDD-4AF2DC013818}"/>
                </a:ext>
              </a:extLst>
            </p:cNvPr>
            <p:cNvSpPr/>
            <p:nvPr/>
          </p:nvSpPr>
          <p:spPr>
            <a:xfrm>
              <a:off x="7744698" y="3019425"/>
              <a:ext cx="3775790" cy="13906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矩形: 剪去左右顶角 20">
              <a:extLst>
                <a:ext uri="{FF2B5EF4-FFF2-40B4-BE49-F238E27FC236}">
                  <a16:creationId xmlns:a16="http://schemas.microsoft.com/office/drawing/2014/main" id="{966E877F-CBAD-4194-9BB1-76D175F1FA37}"/>
                </a:ext>
              </a:extLst>
            </p:cNvPr>
            <p:cNvSpPr/>
            <p:nvPr/>
          </p:nvSpPr>
          <p:spPr>
            <a:xfrm>
              <a:off x="8285864" y="3303658"/>
              <a:ext cx="3234624" cy="8221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 algn="r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FAC01C9F-FAE0-4CA0-88BB-130330EFF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4A39CAF-CC61-4972-95E8-8F0EA2F84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0C68F6-6AF2-4586-B78D-FCC6790B1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CFEF0764-AAB5-4231-BB9D-641BFA17C64A}"/>
              </a:ext>
            </a:extLst>
          </p:cNvPr>
          <p:cNvSpPr/>
          <p:nvPr/>
        </p:nvSpPr>
        <p:spPr>
          <a:xfrm>
            <a:off x="4702917" y="2318333"/>
            <a:ext cx="2786164" cy="278545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9EAB38F6-C1F5-44DD-A497-32F576604FC2}"/>
              </a:ext>
            </a:extLst>
          </p:cNvPr>
          <p:cNvSpPr/>
          <p:nvPr/>
        </p:nvSpPr>
        <p:spPr bwMode="auto">
          <a:xfrm>
            <a:off x="4415578" y="1985142"/>
            <a:ext cx="3440617" cy="3452076"/>
          </a:xfrm>
          <a:custGeom>
            <a:avLst/>
            <a:gdLst>
              <a:gd name="T0" fmla="*/ 365 w 2340"/>
              <a:gd name="T1" fmla="*/ 542 h 2348"/>
              <a:gd name="T2" fmla="*/ 805 w 2340"/>
              <a:gd name="T3" fmla="*/ 220 h 2348"/>
              <a:gd name="T4" fmla="*/ 1001 w 2340"/>
              <a:gd name="T5" fmla="*/ 167 h 2348"/>
              <a:gd name="T6" fmla="*/ 1122 w 2340"/>
              <a:gd name="T7" fmla="*/ 155 h 2348"/>
              <a:gd name="T8" fmla="*/ 1230 w 2340"/>
              <a:gd name="T9" fmla="*/ 156 h 2348"/>
              <a:gd name="T10" fmla="*/ 1341 w 2340"/>
              <a:gd name="T11" fmla="*/ 169 h 2348"/>
              <a:gd name="T12" fmla="*/ 1513 w 2340"/>
              <a:gd name="T13" fmla="*/ 215 h 2348"/>
              <a:gd name="T14" fmla="*/ 1590 w 2340"/>
              <a:gd name="T15" fmla="*/ 246 h 2348"/>
              <a:gd name="T16" fmla="*/ 1708 w 2340"/>
              <a:gd name="T17" fmla="*/ 310 h 2348"/>
              <a:gd name="T18" fmla="*/ 1818 w 2340"/>
              <a:gd name="T19" fmla="*/ 389 h 2348"/>
              <a:gd name="T20" fmla="*/ 1940 w 2340"/>
              <a:gd name="T21" fmla="*/ 510 h 2348"/>
              <a:gd name="T22" fmla="*/ 2014 w 2340"/>
              <a:gd name="T23" fmla="*/ 608 h 2348"/>
              <a:gd name="T24" fmla="*/ 2076 w 2340"/>
              <a:gd name="T25" fmla="*/ 714 h 2348"/>
              <a:gd name="T26" fmla="*/ 2137 w 2340"/>
              <a:gd name="T27" fmla="*/ 860 h 2348"/>
              <a:gd name="T28" fmla="*/ 2174 w 2340"/>
              <a:gd name="T29" fmla="*/ 1015 h 2348"/>
              <a:gd name="T30" fmla="*/ 2186 w 2340"/>
              <a:gd name="T31" fmla="*/ 1192 h 2348"/>
              <a:gd name="T32" fmla="*/ 2174 w 2340"/>
              <a:gd name="T33" fmla="*/ 1333 h 2348"/>
              <a:gd name="T34" fmla="*/ 2131 w 2340"/>
              <a:gd name="T35" fmla="*/ 1505 h 2348"/>
              <a:gd name="T36" fmla="*/ 2077 w 2340"/>
              <a:gd name="T37" fmla="*/ 1634 h 2348"/>
              <a:gd name="T38" fmla="*/ 1985 w 2340"/>
              <a:gd name="T39" fmla="*/ 1782 h 2348"/>
              <a:gd name="T40" fmla="*/ 1859 w 2340"/>
              <a:gd name="T41" fmla="*/ 1922 h 2348"/>
              <a:gd name="T42" fmla="*/ 1740 w 2340"/>
              <a:gd name="T43" fmla="*/ 2017 h 2348"/>
              <a:gd name="T44" fmla="*/ 1611 w 2340"/>
              <a:gd name="T45" fmla="*/ 2092 h 2348"/>
              <a:gd name="T46" fmla="*/ 1382 w 2340"/>
              <a:gd name="T47" fmla="*/ 2171 h 2348"/>
              <a:gd name="T48" fmla="*/ 1167 w 2340"/>
              <a:gd name="T49" fmla="*/ 2194 h 2348"/>
              <a:gd name="T50" fmla="*/ 1018 w 2340"/>
              <a:gd name="T51" fmla="*/ 2183 h 2348"/>
              <a:gd name="T52" fmla="*/ 906 w 2340"/>
              <a:gd name="T53" fmla="*/ 2161 h 2348"/>
              <a:gd name="T54" fmla="*/ 775 w 2340"/>
              <a:gd name="T55" fmla="*/ 2117 h 2348"/>
              <a:gd name="T56" fmla="*/ 669 w 2340"/>
              <a:gd name="T57" fmla="*/ 2065 h 2348"/>
              <a:gd name="T58" fmla="*/ 435 w 2340"/>
              <a:gd name="T59" fmla="*/ 1886 h 2348"/>
              <a:gd name="T60" fmla="*/ 486 w 2340"/>
              <a:gd name="T61" fmla="*/ 1739 h 2348"/>
              <a:gd name="T62" fmla="*/ 283 w 2340"/>
              <a:gd name="T63" fmla="*/ 1948 h 2348"/>
              <a:gd name="T64" fmla="*/ 532 w 2340"/>
              <a:gd name="T65" fmla="*/ 2162 h 2348"/>
              <a:gd name="T66" fmla="*/ 660 w 2340"/>
              <a:gd name="T67" fmla="*/ 2234 h 2348"/>
              <a:gd name="T68" fmla="*/ 836 w 2340"/>
              <a:gd name="T69" fmla="*/ 2301 h 2348"/>
              <a:gd name="T70" fmla="*/ 963 w 2340"/>
              <a:gd name="T71" fmla="*/ 2331 h 2348"/>
              <a:gd name="T72" fmla="*/ 1098 w 2340"/>
              <a:gd name="T73" fmla="*/ 2346 h 2348"/>
              <a:gd name="T74" fmla="*/ 1343 w 2340"/>
              <a:gd name="T75" fmla="*/ 2335 h 2348"/>
              <a:gd name="T76" fmla="*/ 1626 w 2340"/>
              <a:gd name="T77" fmla="*/ 2254 h 2348"/>
              <a:gd name="T78" fmla="*/ 1795 w 2340"/>
              <a:gd name="T79" fmla="*/ 2166 h 2348"/>
              <a:gd name="T80" fmla="*/ 1949 w 2340"/>
              <a:gd name="T81" fmla="*/ 2049 h 2348"/>
              <a:gd name="T82" fmla="*/ 2072 w 2340"/>
              <a:gd name="T83" fmla="*/ 1921 h 2348"/>
              <a:gd name="T84" fmla="*/ 2195 w 2340"/>
              <a:gd name="T85" fmla="*/ 1739 h 2348"/>
              <a:gd name="T86" fmla="*/ 2267 w 2340"/>
              <a:gd name="T87" fmla="*/ 1583 h 2348"/>
              <a:gd name="T88" fmla="*/ 2306 w 2340"/>
              <a:gd name="T89" fmla="*/ 1457 h 2348"/>
              <a:gd name="T90" fmla="*/ 2336 w 2340"/>
              <a:gd name="T91" fmla="*/ 1276 h 2348"/>
              <a:gd name="T92" fmla="*/ 2334 w 2340"/>
              <a:gd name="T93" fmla="*/ 1052 h 2348"/>
              <a:gd name="T94" fmla="*/ 2301 w 2340"/>
              <a:gd name="T95" fmla="*/ 871 h 2348"/>
              <a:gd name="T96" fmla="*/ 2231 w 2340"/>
              <a:gd name="T97" fmla="*/ 680 h 2348"/>
              <a:gd name="T98" fmla="*/ 2164 w 2340"/>
              <a:gd name="T99" fmla="*/ 556 h 2348"/>
              <a:gd name="T100" fmla="*/ 2083 w 2340"/>
              <a:gd name="T101" fmla="*/ 441 h 2348"/>
              <a:gd name="T102" fmla="*/ 1990 w 2340"/>
              <a:gd name="T103" fmla="*/ 337 h 2348"/>
              <a:gd name="T104" fmla="*/ 1854 w 2340"/>
              <a:gd name="T105" fmla="*/ 223 h 2348"/>
              <a:gd name="T106" fmla="*/ 1680 w 2340"/>
              <a:gd name="T107" fmla="*/ 118 h 2348"/>
              <a:gd name="T108" fmla="*/ 1583 w 2340"/>
              <a:gd name="T109" fmla="*/ 76 h 2348"/>
              <a:gd name="T110" fmla="*/ 1439 w 2340"/>
              <a:gd name="T111" fmla="*/ 32 h 2348"/>
              <a:gd name="T112" fmla="*/ 1276 w 2340"/>
              <a:gd name="T113" fmla="*/ 5 h 2348"/>
              <a:gd name="T114" fmla="*/ 1168 w 2340"/>
              <a:gd name="T115" fmla="*/ 0 h 2348"/>
              <a:gd name="T116" fmla="*/ 1045 w 2340"/>
              <a:gd name="T117" fmla="*/ 6 h 2348"/>
              <a:gd name="T118" fmla="*/ 844 w 2340"/>
              <a:gd name="T119" fmla="*/ 45 h 2348"/>
              <a:gd name="T120" fmla="*/ 579 w 2340"/>
              <a:gd name="T121" fmla="*/ 157 h 2348"/>
              <a:gd name="T122" fmla="*/ 3 w 2340"/>
              <a:gd name="T123" fmla="*/ 1014 h 2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40" h="2348">
                <a:moveTo>
                  <a:pt x="153" y="1052"/>
                </a:moveTo>
                <a:cubicBezTo>
                  <a:pt x="153" y="1052"/>
                  <a:pt x="154" y="1046"/>
                  <a:pt x="155" y="1035"/>
                </a:cubicBezTo>
                <a:cubicBezTo>
                  <a:pt x="157" y="1024"/>
                  <a:pt x="159" y="1007"/>
                  <a:pt x="164" y="985"/>
                </a:cubicBezTo>
                <a:cubicBezTo>
                  <a:pt x="172" y="941"/>
                  <a:pt x="186" y="878"/>
                  <a:pt x="217" y="801"/>
                </a:cubicBezTo>
                <a:cubicBezTo>
                  <a:pt x="224" y="781"/>
                  <a:pt x="233" y="761"/>
                  <a:pt x="242" y="740"/>
                </a:cubicBezTo>
                <a:cubicBezTo>
                  <a:pt x="253" y="720"/>
                  <a:pt x="263" y="698"/>
                  <a:pt x="275" y="677"/>
                </a:cubicBezTo>
                <a:cubicBezTo>
                  <a:pt x="300" y="633"/>
                  <a:pt x="329" y="588"/>
                  <a:pt x="365" y="542"/>
                </a:cubicBezTo>
                <a:cubicBezTo>
                  <a:pt x="401" y="497"/>
                  <a:pt x="443" y="452"/>
                  <a:pt x="491" y="409"/>
                </a:cubicBezTo>
                <a:cubicBezTo>
                  <a:pt x="540" y="366"/>
                  <a:pt x="595" y="326"/>
                  <a:pt x="656" y="290"/>
                </a:cubicBezTo>
                <a:cubicBezTo>
                  <a:pt x="672" y="281"/>
                  <a:pt x="688" y="273"/>
                  <a:pt x="704" y="265"/>
                </a:cubicBezTo>
                <a:cubicBezTo>
                  <a:pt x="712" y="260"/>
                  <a:pt x="720" y="256"/>
                  <a:pt x="728" y="253"/>
                </a:cubicBezTo>
                <a:cubicBezTo>
                  <a:pt x="737" y="249"/>
                  <a:pt x="745" y="245"/>
                  <a:pt x="753" y="241"/>
                </a:cubicBezTo>
                <a:cubicBezTo>
                  <a:pt x="762" y="237"/>
                  <a:pt x="770" y="234"/>
                  <a:pt x="779" y="230"/>
                </a:cubicBezTo>
                <a:cubicBezTo>
                  <a:pt x="787" y="227"/>
                  <a:pt x="796" y="223"/>
                  <a:pt x="805" y="220"/>
                </a:cubicBezTo>
                <a:cubicBezTo>
                  <a:pt x="823" y="213"/>
                  <a:pt x="840" y="207"/>
                  <a:pt x="859" y="201"/>
                </a:cubicBezTo>
                <a:cubicBezTo>
                  <a:pt x="868" y="198"/>
                  <a:pt x="877" y="195"/>
                  <a:pt x="886" y="193"/>
                </a:cubicBezTo>
                <a:cubicBezTo>
                  <a:pt x="896" y="190"/>
                  <a:pt x="905" y="188"/>
                  <a:pt x="914" y="185"/>
                </a:cubicBezTo>
                <a:cubicBezTo>
                  <a:pt x="919" y="184"/>
                  <a:pt x="924" y="183"/>
                  <a:pt x="929" y="182"/>
                </a:cubicBezTo>
                <a:cubicBezTo>
                  <a:pt x="933" y="181"/>
                  <a:pt x="938" y="180"/>
                  <a:pt x="943" y="179"/>
                </a:cubicBezTo>
                <a:cubicBezTo>
                  <a:pt x="952" y="177"/>
                  <a:pt x="962" y="174"/>
                  <a:pt x="972" y="172"/>
                </a:cubicBezTo>
                <a:cubicBezTo>
                  <a:pt x="981" y="170"/>
                  <a:pt x="991" y="169"/>
                  <a:pt x="1001" y="167"/>
                </a:cubicBezTo>
                <a:cubicBezTo>
                  <a:pt x="1011" y="166"/>
                  <a:pt x="1021" y="164"/>
                  <a:pt x="1031" y="163"/>
                </a:cubicBezTo>
                <a:cubicBezTo>
                  <a:pt x="1041" y="162"/>
                  <a:pt x="1051" y="161"/>
                  <a:pt x="1061" y="159"/>
                </a:cubicBezTo>
                <a:cubicBezTo>
                  <a:pt x="1068" y="159"/>
                  <a:pt x="1068" y="159"/>
                  <a:pt x="1068" y="159"/>
                </a:cubicBezTo>
                <a:cubicBezTo>
                  <a:pt x="1071" y="158"/>
                  <a:pt x="1073" y="158"/>
                  <a:pt x="1076" y="158"/>
                </a:cubicBezTo>
                <a:cubicBezTo>
                  <a:pt x="1081" y="158"/>
                  <a:pt x="1086" y="157"/>
                  <a:pt x="1091" y="157"/>
                </a:cubicBezTo>
                <a:cubicBezTo>
                  <a:pt x="1096" y="157"/>
                  <a:pt x="1101" y="156"/>
                  <a:pt x="1106" y="156"/>
                </a:cubicBezTo>
                <a:cubicBezTo>
                  <a:pt x="1111" y="156"/>
                  <a:pt x="1116" y="155"/>
                  <a:pt x="1122" y="155"/>
                </a:cubicBezTo>
                <a:cubicBezTo>
                  <a:pt x="1132" y="155"/>
                  <a:pt x="1142" y="154"/>
                  <a:pt x="1152" y="154"/>
                </a:cubicBezTo>
                <a:cubicBezTo>
                  <a:pt x="1158" y="154"/>
                  <a:pt x="1163" y="154"/>
                  <a:pt x="1168" y="154"/>
                </a:cubicBezTo>
                <a:cubicBezTo>
                  <a:pt x="1173" y="154"/>
                  <a:pt x="1178" y="154"/>
                  <a:pt x="1183" y="154"/>
                </a:cubicBezTo>
                <a:cubicBezTo>
                  <a:pt x="1194" y="155"/>
                  <a:pt x="1204" y="155"/>
                  <a:pt x="1215" y="155"/>
                </a:cubicBezTo>
                <a:cubicBezTo>
                  <a:pt x="1219" y="155"/>
                  <a:pt x="1219" y="155"/>
                  <a:pt x="1219" y="155"/>
                </a:cubicBezTo>
                <a:cubicBezTo>
                  <a:pt x="1223" y="156"/>
                  <a:pt x="1223" y="156"/>
                  <a:pt x="1223" y="156"/>
                </a:cubicBezTo>
                <a:cubicBezTo>
                  <a:pt x="1230" y="156"/>
                  <a:pt x="1230" y="156"/>
                  <a:pt x="1230" y="156"/>
                </a:cubicBezTo>
                <a:cubicBezTo>
                  <a:pt x="1236" y="157"/>
                  <a:pt x="1241" y="157"/>
                  <a:pt x="1246" y="157"/>
                </a:cubicBezTo>
                <a:cubicBezTo>
                  <a:pt x="1251" y="158"/>
                  <a:pt x="1257" y="158"/>
                  <a:pt x="1262" y="159"/>
                </a:cubicBezTo>
                <a:cubicBezTo>
                  <a:pt x="1270" y="159"/>
                  <a:pt x="1270" y="159"/>
                  <a:pt x="1270" y="159"/>
                </a:cubicBezTo>
                <a:cubicBezTo>
                  <a:pt x="1272" y="159"/>
                  <a:pt x="1275" y="160"/>
                  <a:pt x="1278" y="160"/>
                </a:cubicBezTo>
                <a:cubicBezTo>
                  <a:pt x="1288" y="161"/>
                  <a:pt x="1299" y="163"/>
                  <a:pt x="1309" y="164"/>
                </a:cubicBezTo>
                <a:cubicBezTo>
                  <a:pt x="1314" y="165"/>
                  <a:pt x="1320" y="165"/>
                  <a:pt x="1325" y="166"/>
                </a:cubicBezTo>
                <a:cubicBezTo>
                  <a:pt x="1330" y="167"/>
                  <a:pt x="1335" y="168"/>
                  <a:pt x="1341" y="169"/>
                </a:cubicBezTo>
                <a:cubicBezTo>
                  <a:pt x="1351" y="171"/>
                  <a:pt x="1362" y="173"/>
                  <a:pt x="1372" y="175"/>
                </a:cubicBezTo>
                <a:cubicBezTo>
                  <a:pt x="1383" y="177"/>
                  <a:pt x="1393" y="180"/>
                  <a:pt x="1404" y="182"/>
                </a:cubicBezTo>
                <a:cubicBezTo>
                  <a:pt x="1409" y="183"/>
                  <a:pt x="1414" y="184"/>
                  <a:pt x="1419" y="186"/>
                </a:cubicBezTo>
                <a:cubicBezTo>
                  <a:pt x="1425" y="187"/>
                  <a:pt x="1430" y="189"/>
                  <a:pt x="1435" y="190"/>
                </a:cubicBezTo>
                <a:cubicBezTo>
                  <a:pt x="1446" y="193"/>
                  <a:pt x="1456" y="196"/>
                  <a:pt x="1466" y="199"/>
                </a:cubicBezTo>
                <a:cubicBezTo>
                  <a:pt x="1477" y="202"/>
                  <a:pt x="1487" y="206"/>
                  <a:pt x="1498" y="209"/>
                </a:cubicBezTo>
                <a:cubicBezTo>
                  <a:pt x="1503" y="211"/>
                  <a:pt x="1508" y="213"/>
                  <a:pt x="1513" y="215"/>
                </a:cubicBezTo>
                <a:cubicBezTo>
                  <a:pt x="1516" y="215"/>
                  <a:pt x="1518" y="216"/>
                  <a:pt x="1521" y="217"/>
                </a:cubicBezTo>
                <a:cubicBezTo>
                  <a:pt x="1528" y="220"/>
                  <a:pt x="1528" y="220"/>
                  <a:pt x="1528" y="220"/>
                </a:cubicBezTo>
                <a:cubicBezTo>
                  <a:pt x="1539" y="224"/>
                  <a:pt x="1549" y="228"/>
                  <a:pt x="1559" y="233"/>
                </a:cubicBezTo>
                <a:cubicBezTo>
                  <a:pt x="1563" y="234"/>
                  <a:pt x="1563" y="234"/>
                  <a:pt x="1563" y="234"/>
                </a:cubicBezTo>
                <a:cubicBezTo>
                  <a:pt x="1567" y="236"/>
                  <a:pt x="1567" y="236"/>
                  <a:pt x="1567" y="236"/>
                </a:cubicBezTo>
                <a:cubicBezTo>
                  <a:pt x="1574" y="239"/>
                  <a:pt x="1574" y="239"/>
                  <a:pt x="1574" y="239"/>
                </a:cubicBezTo>
                <a:cubicBezTo>
                  <a:pt x="1590" y="246"/>
                  <a:pt x="1590" y="246"/>
                  <a:pt x="1590" y="246"/>
                </a:cubicBezTo>
                <a:cubicBezTo>
                  <a:pt x="1605" y="253"/>
                  <a:pt x="1605" y="253"/>
                  <a:pt x="1605" y="253"/>
                </a:cubicBezTo>
                <a:cubicBezTo>
                  <a:pt x="1607" y="254"/>
                  <a:pt x="1610" y="255"/>
                  <a:pt x="1612" y="257"/>
                </a:cubicBezTo>
                <a:cubicBezTo>
                  <a:pt x="1620" y="260"/>
                  <a:pt x="1620" y="260"/>
                  <a:pt x="1620" y="260"/>
                </a:cubicBezTo>
                <a:cubicBezTo>
                  <a:pt x="1630" y="265"/>
                  <a:pt x="1640" y="270"/>
                  <a:pt x="1649" y="276"/>
                </a:cubicBezTo>
                <a:cubicBezTo>
                  <a:pt x="1659" y="281"/>
                  <a:pt x="1669" y="287"/>
                  <a:pt x="1679" y="292"/>
                </a:cubicBezTo>
                <a:cubicBezTo>
                  <a:pt x="1693" y="301"/>
                  <a:pt x="1693" y="301"/>
                  <a:pt x="1693" y="301"/>
                </a:cubicBezTo>
                <a:cubicBezTo>
                  <a:pt x="1698" y="303"/>
                  <a:pt x="1703" y="307"/>
                  <a:pt x="1708" y="310"/>
                </a:cubicBezTo>
                <a:cubicBezTo>
                  <a:pt x="1717" y="316"/>
                  <a:pt x="1727" y="322"/>
                  <a:pt x="1736" y="328"/>
                </a:cubicBezTo>
                <a:cubicBezTo>
                  <a:pt x="1745" y="334"/>
                  <a:pt x="1755" y="341"/>
                  <a:pt x="1764" y="348"/>
                </a:cubicBezTo>
                <a:cubicBezTo>
                  <a:pt x="1768" y="351"/>
                  <a:pt x="1773" y="354"/>
                  <a:pt x="1778" y="358"/>
                </a:cubicBezTo>
                <a:cubicBezTo>
                  <a:pt x="1791" y="368"/>
                  <a:pt x="1791" y="368"/>
                  <a:pt x="1791" y="368"/>
                </a:cubicBezTo>
                <a:cubicBezTo>
                  <a:pt x="1804" y="379"/>
                  <a:pt x="1804" y="379"/>
                  <a:pt x="1804" y="379"/>
                </a:cubicBezTo>
                <a:cubicBezTo>
                  <a:pt x="1811" y="384"/>
                  <a:pt x="1811" y="384"/>
                  <a:pt x="1811" y="384"/>
                </a:cubicBezTo>
                <a:cubicBezTo>
                  <a:pt x="1813" y="386"/>
                  <a:pt x="1816" y="387"/>
                  <a:pt x="1818" y="389"/>
                </a:cubicBezTo>
                <a:cubicBezTo>
                  <a:pt x="1835" y="404"/>
                  <a:pt x="1853" y="419"/>
                  <a:pt x="1869" y="435"/>
                </a:cubicBezTo>
                <a:cubicBezTo>
                  <a:pt x="1882" y="447"/>
                  <a:pt x="1882" y="447"/>
                  <a:pt x="1882" y="447"/>
                </a:cubicBezTo>
                <a:cubicBezTo>
                  <a:pt x="1888" y="453"/>
                  <a:pt x="1888" y="453"/>
                  <a:pt x="1888" y="453"/>
                </a:cubicBezTo>
                <a:cubicBezTo>
                  <a:pt x="1894" y="459"/>
                  <a:pt x="1894" y="459"/>
                  <a:pt x="1894" y="459"/>
                </a:cubicBezTo>
                <a:cubicBezTo>
                  <a:pt x="1902" y="468"/>
                  <a:pt x="1910" y="476"/>
                  <a:pt x="1918" y="484"/>
                </a:cubicBezTo>
                <a:cubicBezTo>
                  <a:pt x="1922" y="489"/>
                  <a:pt x="1925" y="493"/>
                  <a:pt x="1929" y="497"/>
                </a:cubicBezTo>
                <a:cubicBezTo>
                  <a:pt x="1940" y="510"/>
                  <a:pt x="1940" y="510"/>
                  <a:pt x="1940" y="510"/>
                </a:cubicBezTo>
                <a:cubicBezTo>
                  <a:pt x="1952" y="524"/>
                  <a:pt x="1952" y="524"/>
                  <a:pt x="1952" y="524"/>
                </a:cubicBezTo>
                <a:cubicBezTo>
                  <a:pt x="1956" y="528"/>
                  <a:pt x="1959" y="533"/>
                  <a:pt x="1963" y="537"/>
                </a:cubicBezTo>
                <a:cubicBezTo>
                  <a:pt x="1970" y="546"/>
                  <a:pt x="1977" y="556"/>
                  <a:pt x="1984" y="565"/>
                </a:cubicBezTo>
                <a:cubicBezTo>
                  <a:pt x="1991" y="574"/>
                  <a:pt x="1998" y="584"/>
                  <a:pt x="2004" y="593"/>
                </a:cubicBezTo>
                <a:cubicBezTo>
                  <a:pt x="2010" y="600"/>
                  <a:pt x="2010" y="600"/>
                  <a:pt x="2010" y="600"/>
                </a:cubicBezTo>
                <a:cubicBezTo>
                  <a:pt x="2012" y="604"/>
                  <a:pt x="2012" y="604"/>
                  <a:pt x="2012" y="604"/>
                </a:cubicBezTo>
                <a:cubicBezTo>
                  <a:pt x="2014" y="608"/>
                  <a:pt x="2014" y="608"/>
                  <a:pt x="2014" y="608"/>
                </a:cubicBezTo>
                <a:cubicBezTo>
                  <a:pt x="2024" y="622"/>
                  <a:pt x="2024" y="622"/>
                  <a:pt x="2024" y="622"/>
                </a:cubicBezTo>
                <a:cubicBezTo>
                  <a:pt x="2033" y="637"/>
                  <a:pt x="2033" y="637"/>
                  <a:pt x="2033" y="637"/>
                </a:cubicBezTo>
                <a:cubicBezTo>
                  <a:pt x="2038" y="644"/>
                  <a:pt x="2038" y="644"/>
                  <a:pt x="2038" y="644"/>
                </a:cubicBezTo>
                <a:cubicBezTo>
                  <a:pt x="2040" y="647"/>
                  <a:pt x="2041" y="649"/>
                  <a:pt x="2042" y="652"/>
                </a:cubicBezTo>
                <a:cubicBezTo>
                  <a:pt x="2048" y="662"/>
                  <a:pt x="2054" y="672"/>
                  <a:pt x="2060" y="682"/>
                </a:cubicBezTo>
                <a:cubicBezTo>
                  <a:pt x="2063" y="687"/>
                  <a:pt x="2066" y="693"/>
                  <a:pt x="2068" y="698"/>
                </a:cubicBezTo>
                <a:cubicBezTo>
                  <a:pt x="2076" y="714"/>
                  <a:pt x="2076" y="714"/>
                  <a:pt x="2076" y="714"/>
                </a:cubicBezTo>
                <a:cubicBezTo>
                  <a:pt x="2084" y="729"/>
                  <a:pt x="2084" y="729"/>
                  <a:pt x="2084" y="729"/>
                </a:cubicBezTo>
                <a:cubicBezTo>
                  <a:pt x="2087" y="734"/>
                  <a:pt x="2089" y="740"/>
                  <a:pt x="2092" y="745"/>
                </a:cubicBezTo>
                <a:cubicBezTo>
                  <a:pt x="2096" y="756"/>
                  <a:pt x="2101" y="767"/>
                  <a:pt x="2106" y="777"/>
                </a:cubicBezTo>
                <a:cubicBezTo>
                  <a:pt x="2110" y="788"/>
                  <a:pt x="2115" y="799"/>
                  <a:pt x="2119" y="810"/>
                </a:cubicBezTo>
                <a:cubicBezTo>
                  <a:pt x="2121" y="816"/>
                  <a:pt x="2124" y="821"/>
                  <a:pt x="2125" y="827"/>
                </a:cubicBezTo>
                <a:cubicBezTo>
                  <a:pt x="2131" y="843"/>
                  <a:pt x="2131" y="843"/>
                  <a:pt x="2131" y="843"/>
                </a:cubicBezTo>
                <a:cubicBezTo>
                  <a:pt x="2137" y="860"/>
                  <a:pt x="2137" y="860"/>
                  <a:pt x="2137" y="860"/>
                </a:cubicBezTo>
                <a:cubicBezTo>
                  <a:pt x="2139" y="866"/>
                  <a:pt x="2141" y="871"/>
                  <a:pt x="2142" y="877"/>
                </a:cubicBezTo>
                <a:cubicBezTo>
                  <a:pt x="2152" y="911"/>
                  <a:pt x="2152" y="911"/>
                  <a:pt x="2152" y="911"/>
                </a:cubicBezTo>
                <a:cubicBezTo>
                  <a:pt x="2154" y="920"/>
                  <a:pt x="2154" y="920"/>
                  <a:pt x="2154" y="920"/>
                </a:cubicBezTo>
                <a:cubicBezTo>
                  <a:pt x="2156" y="928"/>
                  <a:pt x="2156" y="928"/>
                  <a:pt x="2156" y="928"/>
                </a:cubicBezTo>
                <a:cubicBezTo>
                  <a:pt x="2160" y="945"/>
                  <a:pt x="2160" y="945"/>
                  <a:pt x="2160" y="945"/>
                </a:cubicBezTo>
                <a:cubicBezTo>
                  <a:pt x="2163" y="957"/>
                  <a:pt x="2166" y="968"/>
                  <a:pt x="2167" y="980"/>
                </a:cubicBezTo>
                <a:cubicBezTo>
                  <a:pt x="2174" y="1015"/>
                  <a:pt x="2174" y="1015"/>
                  <a:pt x="2174" y="1015"/>
                </a:cubicBezTo>
                <a:cubicBezTo>
                  <a:pt x="2176" y="1027"/>
                  <a:pt x="2177" y="1038"/>
                  <a:pt x="2178" y="1050"/>
                </a:cubicBezTo>
                <a:cubicBezTo>
                  <a:pt x="2181" y="1068"/>
                  <a:pt x="2181" y="1068"/>
                  <a:pt x="2181" y="1068"/>
                </a:cubicBezTo>
                <a:cubicBezTo>
                  <a:pt x="2181" y="1074"/>
                  <a:pt x="2182" y="1080"/>
                  <a:pt x="2182" y="1086"/>
                </a:cubicBezTo>
                <a:cubicBezTo>
                  <a:pt x="2185" y="1121"/>
                  <a:pt x="2185" y="1121"/>
                  <a:pt x="2185" y="1121"/>
                </a:cubicBezTo>
                <a:cubicBezTo>
                  <a:pt x="2186" y="1156"/>
                  <a:pt x="2186" y="1156"/>
                  <a:pt x="2186" y="1156"/>
                </a:cubicBezTo>
                <a:cubicBezTo>
                  <a:pt x="2186" y="1174"/>
                  <a:pt x="2186" y="1174"/>
                  <a:pt x="2186" y="1174"/>
                </a:cubicBezTo>
                <a:cubicBezTo>
                  <a:pt x="2186" y="1192"/>
                  <a:pt x="2186" y="1192"/>
                  <a:pt x="2186" y="1192"/>
                </a:cubicBezTo>
                <a:cubicBezTo>
                  <a:pt x="2185" y="1228"/>
                  <a:pt x="2185" y="1228"/>
                  <a:pt x="2185" y="1228"/>
                </a:cubicBezTo>
                <a:cubicBezTo>
                  <a:pt x="2182" y="1263"/>
                  <a:pt x="2182" y="1263"/>
                  <a:pt x="2182" y="1263"/>
                </a:cubicBezTo>
                <a:cubicBezTo>
                  <a:pt x="2182" y="1269"/>
                  <a:pt x="2181" y="1275"/>
                  <a:pt x="2181" y="1281"/>
                </a:cubicBezTo>
                <a:cubicBezTo>
                  <a:pt x="2178" y="1298"/>
                  <a:pt x="2178" y="1298"/>
                  <a:pt x="2178" y="1298"/>
                </a:cubicBezTo>
                <a:cubicBezTo>
                  <a:pt x="2176" y="1316"/>
                  <a:pt x="2176" y="1316"/>
                  <a:pt x="2176" y="1316"/>
                </a:cubicBezTo>
                <a:cubicBezTo>
                  <a:pt x="2175" y="1325"/>
                  <a:pt x="2175" y="1325"/>
                  <a:pt x="2175" y="1325"/>
                </a:cubicBezTo>
                <a:cubicBezTo>
                  <a:pt x="2175" y="1327"/>
                  <a:pt x="2174" y="1330"/>
                  <a:pt x="2174" y="1333"/>
                </a:cubicBezTo>
                <a:cubicBezTo>
                  <a:pt x="2169" y="1357"/>
                  <a:pt x="2166" y="1380"/>
                  <a:pt x="2160" y="1403"/>
                </a:cubicBezTo>
                <a:cubicBezTo>
                  <a:pt x="2156" y="1420"/>
                  <a:pt x="2156" y="1420"/>
                  <a:pt x="2156" y="1420"/>
                </a:cubicBezTo>
                <a:cubicBezTo>
                  <a:pt x="2154" y="1429"/>
                  <a:pt x="2154" y="1429"/>
                  <a:pt x="2154" y="1429"/>
                </a:cubicBezTo>
                <a:cubicBezTo>
                  <a:pt x="2152" y="1437"/>
                  <a:pt x="2152" y="1437"/>
                  <a:pt x="2152" y="1437"/>
                </a:cubicBezTo>
                <a:cubicBezTo>
                  <a:pt x="2149" y="1448"/>
                  <a:pt x="2145" y="1460"/>
                  <a:pt x="2142" y="1471"/>
                </a:cubicBezTo>
                <a:cubicBezTo>
                  <a:pt x="2141" y="1477"/>
                  <a:pt x="2139" y="1482"/>
                  <a:pt x="2137" y="1488"/>
                </a:cubicBezTo>
                <a:cubicBezTo>
                  <a:pt x="2131" y="1505"/>
                  <a:pt x="2131" y="1505"/>
                  <a:pt x="2131" y="1505"/>
                </a:cubicBezTo>
                <a:cubicBezTo>
                  <a:pt x="2125" y="1521"/>
                  <a:pt x="2125" y="1521"/>
                  <a:pt x="2125" y="1521"/>
                </a:cubicBezTo>
                <a:cubicBezTo>
                  <a:pt x="2125" y="1524"/>
                  <a:pt x="2124" y="1527"/>
                  <a:pt x="2122" y="1529"/>
                </a:cubicBezTo>
                <a:cubicBezTo>
                  <a:pt x="2119" y="1538"/>
                  <a:pt x="2119" y="1538"/>
                  <a:pt x="2119" y="1538"/>
                </a:cubicBezTo>
                <a:cubicBezTo>
                  <a:pt x="2115" y="1549"/>
                  <a:pt x="2111" y="1559"/>
                  <a:pt x="2106" y="1570"/>
                </a:cubicBezTo>
                <a:cubicBezTo>
                  <a:pt x="2101" y="1581"/>
                  <a:pt x="2097" y="1592"/>
                  <a:pt x="2092" y="1602"/>
                </a:cubicBezTo>
                <a:cubicBezTo>
                  <a:pt x="2089" y="1608"/>
                  <a:pt x="2087" y="1613"/>
                  <a:pt x="2085" y="1618"/>
                </a:cubicBezTo>
                <a:cubicBezTo>
                  <a:pt x="2077" y="1634"/>
                  <a:pt x="2077" y="1634"/>
                  <a:pt x="2077" y="1634"/>
                </a:cubicBezTo>
                <a:cubicBezTo>
                  <a:pt x="2069" y="1649"/>
                  <a:pt x="2069" y="1649"/>
                  <a:pt x="2069" y="1649"/>
                </a:cubicBezTo>
                <a:cubicBezTo>
                  <a:pt x="2066" y="1655"/>
                  <a:pt x="2063" y="1660"/>
                  <a:pt x="2060" y="1665"/>
                </a:cubicBezTo>
                <a:cubicBezTo>
                  <a:pt x="2055" y="1675"/>
                  <a:pt x="2049" y="1685"/>
                  <a:pt x="2043" y="1695"/>
                </a:cubicBezTo>
                <a:cubicBezTo>
                  <a:pt x="2039" y="1703"/>
                  <a:pt x="2039" y="1703"/>
                  <a:pt x="2039" y="1703"/>
                </a:cubicBezTo>
                <a:cubicBezTo>
                  <a:pt x="2034" y="1710"/>
                  <a:pt x="2034" y="1710"/>
                  <a:pt x="2034" y="1710"/>
                </a:cubicBezTo>
                <a:cubicBezTo>
                  <a:pt x="2025" y="1725"/>
                  <a:pt x="2025" y="1725"/>
                  <a:pt x="2025" y="1725"/>
                </a:cubicBezTo>
                <a:cubicBezTo>
                  <a:pt x="2012" y="1744"/>
                  <a:pt x="1999" y="1763"/>
                  <a:pt x="1985" y="1782"/>
                </a:cubicBezTo>
                <a:cubicBezTo>
                  <a:pt x="1978" y="1791"/>
                  <a:pt x="1971" y="1800"/>
                  <a:pt x="1964" y="1809"/>
                </a:cubicBezTo>
                <a:cubicBezTo>
                  <a:pt x="1953" y="1823"/>
                  <a:pt x="1953" y="1823"/>
                  <a:pt x="1953" y="1823"/>
                </a:cubicBezTo>
                <a:cubicBezTo>
                  <a:pt x="1942" y="1836"/>
                  <a:pt x="1942" y="1836"/>
                  <a:pt x="1942" y="1836"/>
                </a:cubicBezTo>
                <a:cubicBezTo>
                  <a:pt x="1934" y="1844"/>
                  <a:pt x="1927" y="1853"/>
                  <a:pt x="1919" y="1862"/>
                </a:cubicBezTo>
                <a:cubicBezTo>
                  <a:pt x="1911" y="1870"/>
                  <a:pt x="1904" y="1878"/>
                  <a:pt x="1896" y="1887"/>
                </a:cubicBezTo>
                <a:cubicBezTo>
                  <a:pt x="1888" y="1895"/>
                  <a:pt x="1880" y="1903"/>
                  <a:pt x="1871" y="1911"/>
                </a:cubicBezTo>
                <a:cubicBezTo>
                  <a:pt x="1859" y="1922"/>
                  <a:pt x="1859" y="1922"/>
                  <a:pt x="1859" y="1922"/>
                </a:cubicBezTo>
                <a:cubicBezTo>
                  <a:pt x="1853" y="1928"/>
                  <a:pt x="1853" y="1928"/>
                  <a:pt x="1853" y="1928"/>
                </a:cubicBezTo>
                <a:cubicBezTo>
                  <a:pt x="1851" y="1930"/>
                  <a:pt x="1849" y="1932"/>
                  <a:pt x="1846" y="1934"/>
                </a:cubicBezTo>
                <a:cubicBezTo>
                  <a:pt x="1838" y="1941"/>
                  <a:pt x="1829" y="1949"/>
                  <a:pt x="1821" y="1956"/>
                </a:cubicBezTo>
                <a:cubicBezTo>
                  <a:pt x="1819" y="1958"/>
                  <a:pt x="1816" y="1960"/>
                  <a:pt x="1814" y="1962"/>
                </a:cubicBezTo>
                <a:cubicBezTo>
                  <a:pt x="1808" y="1967"/>
                  <a:pt x="1808" y="1967"/>
                  <a:pt x="1808" y="1967"/>
                </a:cubicBezTo>
                <a:cubicBezTo>
                  <a:pt x="1794" y="1977"/>
                  <a:pt x="1794" y="1977"/>
                  <a:pt x="1794" y="1977"/>
                </a:cubicBezTo>
                <a:cubicBezTo>
                  <a:pt x="1777" y="1992"/>
                  <a:pt x="1758" y="2004"/>
                  <a:pt x="1740" y="2017"/>
                </a:cubicBezTo>
                <a:cubicBezTo>
                  <a:pt x="1736" y="2021"/>
                  <a:pt x="1731" y="2023"/>
                  <a:pt x="1726" y="2027"/>
                </a:cubicBezTo>
                <a:cubicBezTo>
                  <a:pt x="1712" y="2036"/>
                  <a:pt x="1712" y="2036"/>
                  <a:pt x="1712" y="2036"/>
                </a:cubicBezTo>
                <a:cubicBezTo>
                  <a:pt x="1698" y="2045"/>
                  <a:pt x="1698" y="2045"/>
                  <a:pt x="1698" y="2045"/>
                </a:cubicBezTo>
                <a:cubicBezTo>
                  <a:pt x="1693" y="2048"/>
                  <a:pt x="1688" y="2050"/>
                  <a:pt x="1684" y="2053"/>
                </a:cubicBezTo>
                <a:cubicBezTo>
                  <a:pt x="1674" y="2059"/>
                  <a:pt x="1664" y="2064"/>
                  <a:pt x="1655" y="2070"/>
                </a:cubicBezTo>
                <a:cubicBezTo>
                  <a:pt x="1645" y="2075"/>
                  <a:pt x="1635" y="2080"/>
                  <a:pt x="1625" y="2085"/>
                </a:cubicBezTo>
                <a:cubicBezTo>
                  <a:pt x="1621" y="2087"/>
                  <a:pt x="1616" y="2090"/>
                  <a:pt x="1611" y="2092"/>
                </a:cubicBezTo>
                <a:cubicBezTo>
                  <a:pt x="1606" y="2095"/>
                  <a:pt x="1601" y="2097"/>
                  <a:pt x="1596" y="2099"/>
                </a:cubicBezTo>
                <a:cubicBezTo>
                  <a:pt x="1586" y="2104"/>
                  <a:pt x="1576" y="2108"/>
                  <a:pt x="1566" y="2113"/>
                </a:cubicBezTo>
                <a:cubicBezTo>
                  <a:pt x="1526" y="2129"/>
                  <a:pt x="1485" y="2145"/>
                  <a:pt x="1444" y="2156"/>
                </a:cubicBezTo>
                <a:cubicBezTo>
                  <a:pt x="1439" y="2157"/>
                  <a:pt x="1434" y="2158"/>
                  <a:pt x="1429" y="2160"/>
                </a:cubicBezTo>
                <a:cubicBezTo>
                  <a:pt x="1421" y="2162"/>
                  <a:pt x="1421" y="2162"/>
                  <a:pt x="1421" y="2162"/>
                </a:cubicBezTo>
                <a:cubicBezTo>
                  <a:pt x="1413" y="2164"/>
                  <a:pt x="1413" y="2164"/>
                  <a:pt x="1413" y="2164"/>
                </a:cubicBezTo>
                <a:cubicBezTo>
                  <a:pt x="1403" y="2166"/>
                  <a:pt x="1392" y="2169"/>
                  <a:pt x="1382" y="2171"/>
                </a:cubicBezTo>
                <a:cubicBezTo>
                  <a:pt x="1372" y="2174"/>
                  <a:pt x="1362" y="2175"/>
                  <a:pt x="1351" y="2177"/>
                </a:cubicBezTo>
                <a:cubicBezTo>
                  <a:pt x="1341" y="2179"/>
                  <a:pt x="1331" y="2181"/>
                  <a:pt x="1320" y="2183"/>
                </a:cubicBezTo>
                <a:cubicBezTo>
                  <a:pt x="1310" y="2184"/>
                  <a:pt x="1300" y="2185"/>
                  <a:pt x="1289" y="2186"/>
                </a:cubicBezTo>
                <a:cubicBezTo>
                  <a:pt x="1284" y="2187"/>
                  <a:pt x="1279" y="2188"/>
                  <a:pt x="1274" y="2188"/>
                </a:cubicBezTo>
                <a:cubicBezTo>
                  <a:pt x="1269" y="2189"/>
                  <a:pt x="1264" y="2189"/>
                  <a:pt x="1258" y="2190"/>
                </a:cubicBezTo>
                <a:cubicBezTo>
                  <a:pt x="1238" y="2191"/>
                  <a:pt x="1218" y="2193"/>
                  <a:pt x="1197" y="2193"/>
                </a:cubicBezTo>
                <a:cubicBezTo>
                  <a:pt x="1187" y="2194"/>
                  <a:pt x="1177" y="2194"/>
                  <a:pt x="1167" y="2194"/>
                </a:cubicBezTo>
                <a:cubicBezTo>
                  <a:pt x="1157" y="2194"/>
                  <a:pt x="1146" y="2194"/>
                  <a:pt x="1136" y="2194"/>
                </a:cubicBezTo>
                <a:cubicBezTo>
                  <a:pt x="1126" y="2194"/>
                  <a:pt x="1116" y="2193"/>
                  <a:pt x="1106" y="2192"/>
                </a:cubicBezTo>
                <a:cubicBezTo>
                  <a:pt x="1102" y="2192"/>
                  <a:pt x="1097" y="2192"/>
                  <a:pt x="1092" y="2191"/>
                </a:cubicBezTo>
                <a:cubicBezTo>
                  <a:pt x="1084" y="2191"/>
                  <a:pt x="1084" y="2191"/>
                  <a:pt x="1084" y="2191"/>
                </a:cubicBezTo>
                <a:cubicBezTo>
                  <a:pt x="1077" y="2190"/>
                  <a:pt x="1077" y="2190"/>
                  <a:pt x="1077" y="2190"/>
                </a:cubicBezTo>
                <a:cubicBezTo>
                  <a:pt x="1067" y="2189"/>
                  <a:pt x="1057" y="2188"/>
                  <a:pt x="1047" y="2187"/>
                </a:cubicBezTo>
                <a:cubicBezTo>
                  <a:pt x="1038" y="2186"/>
                  <a:pt x="1028" y="2185"/>
                  <a:pt x="1018" y="2183"/>
                </a:cubicBezTo>
                <a:cubicBezTo>
                  <a:pt x="1014" y="2183"/>
                  <a:pt x="1009" y="2182"/>
                  <a:pt x="1004" y="2181"/>
                </a:cubicBezTo>
                <a:cubicBezTo>
                  <a:pt x="999" y="2181"/>
                  <a:pt x="994" y="2180"/>
                  <a:pt x="990" y="2179"/>
                </a:cubicBezTo>
                <a:cubicBezTo>
                  <a:pt x="985" y="2178"/>
                  <a:pt x="980" y="2177"/>
                  <a:pt x="975" y="2176"/>
                </a:cubicBezTo>
                <a:cubicBezTo>
                  <a:pt x="971" y="2175"/>
                  <a:pt x="966" y="2175"/>
                  <a:pt x="961" y="2174"/>
                </a:cubicBezTo>
                <a:cubicBezTo>
                  <a:pt x="952" y="2172"/>
                  <a:pt x="943" y="2170"/>
                  <a:pt x="933" y="2167"/>
                </a:cubicBezTo>
                <a:cubicBezTo>
                  <a:pt x="929" y="2167"/>
                  <a:pt x="924" y="2165"/>
                  <a:pt x="920" y="2164"/>
                </a:cubicBezTo>
                <a:cubicBezTo>
                  <a:pt x="915" y="2163"/>
                  <a:pt x="910" y="2162"/>
                  <a:pt x="906" y="2161"/>
                </a:cubicBezTo>
                <a:cubicBezTo>
                  <a:pt x="901" y="2159"/>
                  <a:pt x="897" y="2158"/>
                  <a:pt x="892" y="2157"/>
                </a:cubicBezTo>
                <a:cubicBezTo>
                  <a:pt x="888" y="2156"/>
                  <a:pt x="883" y="2154"/>
                  <a:pt x="879" y="2153"/>
                </a:cubicBezTo>
                <a:cubicBezTo>
                  <a:pt x="870" y="2150"/>
                  <a:pt x="861" y="2148"/>
                  <a:pt x="852" y="2145"/>
                </a:cubicBezTo>
                <a:cubicBezTo>
                  <a:pt x="844" y="2142"/>
                  <a:pt x="835" y="2139"/>
                  <a:pt x="826" y="2136"/>
                </a:cubicBezTo>
                <a:cubicBezTo>
                  <a:pt x="822" y="2135"/>
                  <a:pt x="818" y="2133"/>
                  <a:pt x="813" y="2132"/>
                </a:cubicBezTo>
                <a:cubicBezTo>
                  <a:pt x="809" y="2130"/>
                  <a:pt x="805" y="2128"/>
                  <a:pt x="801" y="2127"/>
                </a:cubicBezTo>
                <a:cubicBezTo>
                  <a:pt x="792" y="2123"/>
                  <a:pt x="784" y="2120"/>
                  <a:pt x="775" y="2117"/>
                </a:cubicBezTo>
                <a:cubicBezTo>
                  <a:pt x="767" y="2113"/>
                  <a:pt x="759" y="2110"/>
                  <a:pt x="751" y="2106"/>
                </a:cubicBezTo>
                <a:cubicBezTo>
                  <a:pt x="743" y="2103"/>
                  <a:pt x="735" y="2099"/>
                  <a:pt x="727" y="2095"/>
                </a:cubicBezTo>
                <a:cubicBezTo>
                  <a:pt x="723" y="2093"/>
                  <a:pt x="719" y="2091"/>
                  <a:pt x="715" y="2089"/>
                </a:cubicBezTo>
                <a:cubicBezTo>
                  <a:pt x="709" y="2086"/>
                  <a:pt x="709" y="2086"/>
                  <a:pt x="709" y="2086"/>
                </a:cubicBezTo>
                <a:cubicBezTo>
                  <a:pt x="703" y="2083"/>
                  <a:pt x="703" y="2083"/>
                  <a:pt x="703" y="2083"/>
                </a:cubicBezTo>
                <a:cubicBezTo>
                  <a:pt x="696" y="2079"/>
                  <a:pt x="688" y="2075"/>
                  <a:pt x="680" y="2071"/>
                </a:cubicBezTo>
                <a:cubicBezTo>
                  <a:pt x="677" y="2069"/>
                  <a:pt x="673" y="2067"/>
                  <a:pt x="669" y="2065"/>
                </a:cubicBezTo>
                <a:cubicBezTo>
                  <a:pt x="665" y="2063"/>
                  <a:pt x="662" y="2061"/>
                  <a:pt x="658" y="2059"/>
                </a:cubicBezTo>
                <a:cubicBezTo>
                  <a:pt x="643" y="2051"/>
                  <a:pt x="629" y="2041"/>
                  <a:pt x="615" y="2033"/>
                </a:cubicBezTo>
                <a:cubicBezTo>
                  <a:pt x="610" y="2029"/>
                  <a:pt x="610" y="2029"/>
                  <a:pt x="610" y="2029"/>
                </a:cubicBezTo>
                <a:cubicBezTo>
                  <a:pt x="605" y="2026"/>
                  <a:pt x="605" y="2026"/>
                  <a:pt x="605" y="2026"/>
                </a:cubicBezTo>
                <a:cubicBezTo>
                  <a:pt x="601" y="2024"/>
                  <a:pt x="598" y="2021"/>
                  <a:pt x="594" y="2019"/>
                </a:cubicBezTo>
                <a:cubicBezTo>
                  <a:pt x="588" y="2014"/>
                  <a:pt x="581" y="2010"/>
                  <a:pt x="574" y="2005"/>
                </a:cubicBezTo>
                <a:cubicBezTo>
                  <a:pt x="522" y="1967"/>
                  <a:pt x="475" y="1927"/>
                  <a:pt x="435" y="1886"/>
                </a:cubicBezTo>
                <a:cubicBezTo>
                  <a:pt x="425" y="1875"/>
                  <a:pt x="415" y="1865"/>
                  <a:pt x="406" y="1854"/>
                </a:cubicBezTo>
                <a:cubicBezTo>
                  <a:pt x="403" y="1852"/>
                  <a:pt x="401" y="1849"/>
                  <a:pt x="399" y="1846"/>
                </a:cubicBezTo>
                <a:cubicBezTo>
                  <a:pt x="398" y="1845"/>
                  <a:pt x="397" y="1844"/>
                  <a:pt x="396" y="1843"/>
                </a:cubicBezTo>
                <a:cubicBezTo>
                  <a:pt x="394" y="1841"/>
                  <a:pt x="392" y="1839"/>
                  <a:pt x="391" y="1837"/>
                </a:cubicBezTo>
                <a:cubicBezTo>
                  <a:pt x="388" y="1833"/>
                  <a:pt x="385" y="1831"/>
                  <a:pt x="384" y="1829"/>
                </a:cubicBezTo>
                <a:cubicBezTo>
                  <a:pt x="382" y="1827"/>
                  <a:pt x="381" y="1826"/>
                  <a:pt x="381" y="1826"/>
                </a:cubicBezTo>
                <a:cubicBezTo>
                  <a:pt x="486" y="1739"/>
                  <a:pt x="486" y="1739"/>
                  <a:pt x="486" y="1739"/>
                </a:cubicBezTo>
                <a:cubicBezTo>
                  <a:pt x="368" y="1708"/>
                  <a:pt x="247" y="1648"/>
                  <a:pt x="138" y="1558"/>
                </a:cubicBezTo>
                <a:cubicBezTo>
                  <a:pt x="114" y="1697"/>
                  <a:pt x="119" y="1853"/>
                  <a:pt x="158" y="2011"/>
                </a:cubicBezTo>
                <a:cubicBezTo>
                  <a:pt x="263" y="1924"/>
                  <a:pt x="263" y="1924"/>
                  <a:pt x="263" y="1924"/>
                </a:cubicBezTo>
                <a:cubicBezTo>
                  <a:pt x="263" y="1924"/>
                  <a:pt x="264" y="1925"/>
                  <a:pt x="265" y="1928"/>
                </a:cubicBezTo>
                <a:cubicBezTo>
                  <a:pt x="267" y="1930"/>
                  <a:pt x="270" y="1933"/>
                  <a:pt x="274" y="1937"/>
                </a:cubicBezTo>
                <a:cubicBezTo>
                  <a:pt x="275" y="1939"/>
                  <a:pt x="277" y="1941"/>
                  <a:pt x="280" y="1944"/>
                </a:cubicBezTo>
                <a:cubicBezTo>
                  <a:pt x="281" y="1945"/>
                  <a:pt x="282" y="1946"/>
                  <a:pt x="283" y="1948"/>
                </a:cubicBezTo>
                <a:cubicBezTo>
                  <a:pt x="286" y="1951"/>
                  <a:pt x="288" y="1954"/>
                  <a:pt x="291" y="1957"/>
                </a:cubicBezTo>
                <a:cubicBezTo>
                  <a:pt x="302" y="1969"/>
                  <a:pt x="313" y="1981"/>
                  <a:pt x="325" y="1993"/>
                </a:cubicBezTo>
                <a:cubicBezTo>
                  <a:pt x="371" y="2040"/>
                  <a:pt x="424" y="2087"/>
                  <a:pt x="485" y="2131"/>
                </a:cubicBezTo>
                <a:cubicBezTo>
                  <a:pt x="492" y="2136"/>
                  <a:pt x="500" y="2141"/>
                  <a:pt x="508" y="2146"/>
                </a:cubicBezTo>
                <a:cubicBezTo>
                  <a:pt x="512" y="2149"/>
                  <a:pt x="516" y="2152"/>
                  <a:pt x="520" y="2154"/>
                </a:cubicBezTo>
                <a:cubicBezTo>
                  <a:pt x="526" y="2158"/>
                  <a:pt x="526" y="2158"/>
                  <a:pt x="526" y="2158"/>
                </a:cubicBezTo>
                <a:cubicBezTo>
                  <a:pt x="532" y="2162"/>
                  <a:pt x="532" y="2162"/>
                  <a:pt x="532" y="2162"/>
                </a:cubicBezTo>
                <a:cubicBezTo>
                  <a:pt x="548" y="2172"/>
                  <a:pt x="564" y="2183"/>
                  <a:pt x="581" y="2192"/>
                </a:cubicBezTo>
                <a:cubicBezTo>
                  <a:pt x="585" y="2195"/>
                  <a:pt x="590" y="2197"/>
                  <a:pt x="594" y="2200"/>
                </a:cubicBezTo>
                <a:cubicBezTo>
                  <a:pt x="598" y="2202"/>
                  <a:pt x="603" y="2205"/>
                  <a:pt x="607" y="2207"/>
                </a:cubicBezTo>
                <a:cubicBezTo>
                  <a:pt x="616" y="2211"/>
                  <a:pt x="625" y="2216"/>
                  <a:pt x="633" y="2221"/>
                </a:cubicBezTo>
                <a:cubicBezTo>
                  <a:pt x="640" y="2224"/>
                  <a:pt x="640" y="2224"/>
                  <a:pt x="640" y="2224"/>
                </a:cubicBezTo>
                <a:cubicBezTo>
                  <a:pt x="647" y="2227"/>
                  <a:pt x="647" y="2227"/>
                  <a:pt x="647" y="2227"/>
                </a:cubicBezTo>
                <a:cubicBezTo>
                  <a:pt x="651" y="2230"/>
                  <a:pt x="656" y="2232"/>
                  <a:pt x="660" y="2234"/>
                </a:cubicBezTo>
                <a:cubicBezTo>
                  <a:pt x="670" y="2238"/>
                  <a:pt x="679" y="2243"/>
                  <a:pt x="688" y="2247"/>
                </a:cubicBezTo>
                <a:cubicBezTo>
                  <a:pt x="698" y="2251"/>
                  <a:pt x="707" y="2255"/>
                  <a:pt x="716" y="2259"/>
                </a:cubicBezTo>
                <a:cubicBezTo>
                  <a:pt x="726" y="2263"/>
                  <a:pt x="736" y="2267"/>
                  <a:pt x="745" y="2270"/>
                </a:cubicBezTo>
                <a:cubicBezTo>
                  <a:pt x="750" y="2272"/>
                  <a:pt x="755" y="2274"/>
                  <a:pt x="760" y="2276"/>
                </a:cubicBezTo>
                <a:cubicBezTo>
                  <a:pt x="765" y="2278"/>
                  <a:pt x="770" y="2280"/>
                  <a:pt x="775" y="2281"/>
                </a:cubicBezTo>
                <a:cubicBezTo>
                  <a:pt x="785" y="2285"/>
                  <a:pt x="795" y="2288"/>
                  <a:pt x="805" y="2292"/>
                </a:cubicBezTo>
                <a:cubicBezTo>
                  <a:pt x="815" y="2295"/>
                  <a:pt x="825" y="2298"/>
                  <a:pt x="836" y="2301"/>
                </a:cubicBezTo>
                <a:cubicBezTo>
                  <a:pt x="841" y="2302"/>
                  <a:pt x="846" y="2304"/>
                  <a:pt x="851" y="2305"/>
                </a:cubicBezTo>
                <a:cubicBezTo>
                  <a:pt x="856" y="2307"/>
                  <a:pt x="862" y="2308"/>
                  <a:pt x="867" y="2310"/>
                </a:cubicBezTo>
                <a:cubicBezTo>
                  <a:pt x="872" y="2311"/>
                  <a:pt x="877" y="2312"/>
                  <a:pt x="883" y="2314"/>
                </a:cubicBezTo>
                <a:cubicBezTo>
                  <a:pt x="888" y="2315"/>
                  <a:pt x="893" y="2316"/>
                  <a:pt x="898" y="2318"/>
                </a:cubicBezTo>
                <a:cubicBezTo>
                  <a:pt x="909" y="2320"/>
                  <a:pt x="920" y="2322"/>
                  <a:pt x="931" y="2325"/>
                </a:cubicBezTo>
                <a:cubicBezTo>
                  <a:pt x="936" y="2326"/>
                  <a:pt x="941" y="2327"/>
                  <a:pt x="947" y="2328"/>
                </a:cubicBezTo>
                <a:cubicBezTo>
                  <a:pt x="952" y="2329"/>
                  <a:pt x="958" y="2330"/>
                  <a:pt x="963" y="2331"/>
                </a:cubicBezTo>
                <a:cubicBezTo>
                  <a:pt x="969" y="2332"/>
                  <a:pt x="974" y="2333"/>
                  <a:pt x="980" y="2334"/>
                </a:cubicBezTo>
                <a:cubicBezTo>
                  <a:pt x="985" y="2334"/>
                  <a:pt x="991" y="2335"/>
                  <a:pt x="996" y="2336"/>
                </a:cubicBezTo>
                <a:cubicBezTo>
                  <a:pt x="1007" y="2337"/>
                  <a:pt x="1018" y="2339"/>
                  <a:pt x="1030" y="2340"/>
                </a:cubicBezTo>
                <a:cubicBezTo>
                  <a:pt x="1041" y="2341"/>
                  <a:pt x="1052" y="2343"/>
                  <a:pt x="1063" y="2344"/>
                </a:cubicBezTo>
                <a:cubicBezTo>
                  <a:pt x="1072" y="2345"/>
                  <a:pt x="1072" y="2345"/>
                  <a:pt x="1072" y="2345"/>
                </a:cubicBezTo>
                <a:cubicBezTo>
                  <a:pt x="1081" y="2345"/>
                  <a:pt x="1081" y="2345"/>
                  <a:pt x="1081" y="2345"/>
                </a:cubicBezTo>
                <a:cubicBezTo>
                  <a:pt x="1086" y="2345"/>
                  <a:pt x="1092" y="2346"/>
                  <a:pt x="1098" y="2346"/>
                </a:cubicBezTo>
                <a:cubicBezTo>
                  <a:pt x="1109" y="2347"/>
                  <a:pt x="1121" y="2348"/>
                  <a:pt x="1132" y="2348"/>
                </a:cubicBezTo>
                <a:cubicBezTo>
                  <a:pt x="1144" y="2348"/>
                  <a:pt x="1155" y="2348"/>
                  <a:pt x="1167" y="2348"/>
                </a:cubicBezTo>
                <a:cubicBezTo>
                  <a:pt x="1178" y="2348"/>
                  <a:pt x="1190" y="2348"/>
                  <a:pt x="1202" y="2347"/>
                </a:cubicBezTo>
                <a:cubicBezTo>
                  <a:pt x="1225" y="2347"/>
                  <a:pt x="1249" y="2345"/>
                  <a:pt x="1272" y="2343"/>
                </a:cubicBezTo>
                <a:cubicBezTo>
                  <a:pt x="1278" y="2343"/>
                  <a:pt x="1284" y="2343"/>
                  <a:pt x="1290" y="2342"/>
                </a:cubicBezTo>
                <a:cubicBezTo>
                  <a:pt x="1296" y="2341"/>
                  <a:pt x="1302" y="2340"/>
                  <a:pt x="1308" y="2339"/>
                </a:cubicBezTo>
                <a:cubicBezTo>
                  <a:pt x="1320" y="2338"/>
                  <a:pt x="1331" y="2336"/>
                  <a:pt x="1343" y="2335"/>
                </a:cubicBezTo>
                <a:cubicBezTo>
                  <a:pt x="1355" y="2333"/>
                  <a:pt x="1367" y="2331"/>
                  <a:pt x="1379" y="2329"/>
                </a:cubicBezTo>
                <a:cubicBezTo>
                  <a:pt x="1391" y="2326"/>
                  <a:pt x="1403" y="2325"/>
                  <a:pt x="1415" y="2322"/>
                </a:cubicBezTo>
                <a:cubicBezTo>
                  <a:pt x="1427" y="2319"/>
                  <a:pt x="1438" y="2316"/>
                  <a:pt x="1450" y="2313"/>
                </a:cubicBezTo>
                <a:cubicBezTo>
                  <a:pt x="1459" y="2311"/>
                  <a:pt x="1459" y="2311"/>
                  <a:pt x="1459" y="2311"/>
                </a:cubicBezTo>
                <a:cubicBezTo>
                  <a:pt x="1468" y="2309"/>
                  <a:pt x="1468" y="2309"/>
                  <a:pt x="1468" y="2309"/>
                </a:cubicBezTo>
                <a:cubicBezTo>
                  <a:pt x="1474" y="2307"/>
                  <a:pt x="1480" y="2305"/>
                  <a:pt x="1486" y="2304"/>
                </a:cubicBezTo>
                <a:cubicBezTo>
                  <a:pt x="1533" y="2291"/>
                  <a:pt x="1580" y="2273"/>
                  <a:pt x="1626" y="2254"/>
                </a:cubicBezTo>
                <a:cubicBezTo>
                  <a:pt x="1638" y="2249"/>
                  <a:pt x="1649" y="2244"/>
                  <a:pt x="1661" y="2239"/>
                </a:cubicBezTo>
                <a:cubicBezTo>
                  <a:pt x="1667" y="2236"/>
                  <a:pt x="1672" y="2234"/>
                  <a:pt x="1678" y="2231"/>
                </a:cubicBezTo>
                <a:cubicBezTo>
                  <a:pt x="1684" y="2228"/>
                  <a:pt x="1689" y="2225"/>
                  <a:pt x="1695" y="2222"/>
                </a:cubicBezTo>
                <a:cubicBezTo>
                  <a:pt x="1706" y="2216"/>
                  <a:pt x="1718" y="2211"/>
                  <a:pt x="1729" y="2205"/>
                </a:cubicBezTo>
                <a:cubicBezTo>
                  <a:pt x="1740" y="2198"/>
                  <a:pt x="1751" y="2192"/>
                  <a:pt x="1762" y="2186"/>
                </a:cubicBezTo>
                <a:cubicBezTo>
                  <a:pt x="1767" y="2182"/>
                  <a:pt x="1773" y="2180"/>
                  <a:pt x="1778" y="2176"/>
                </a:cubicBezTo>
                <a:cubicBezTo>
                  <a:pt x="1784" y="2173"/>
                  <a:pt x="1789" y="2169"/>
                  <a:pt x="1795" y="2166"/>
                </a:cubicBezTo>
                <a:cubicBezTo>
                  <a:pt x="1800" y="2162"/>
                  <a:pt x="1805" y="2159"/>
                  <a:pt x="1811" y="2155"/>
                </a:cubicBezTo>
                <a:cubicBezTo>
                  <a:pt x="1816" y="2152"/>
                  <a:pt x="1822" y="2148"/>
                  <a:pt x="1827" y="2145"/>
                </a:cubicBezTo>
                <a:cubicBezTo>
                  <a:pt x="1848" y="2130"/>
                  <a:pt x="1869" y="2115"/>
                  <a:pt x="1889" y="2099"/>
                </a:cubicBezTo>
                <a:cubicBezTo>
                  <a:pt x="1905" y="2087"/>
                  <a:pt x="1905" y="2087"/>
                  <a:pt x="1905" y="2087"/>
                </a:cubicBezTo>
                <a:cubicBezTo>
                  <a:pt x="1912" y="2081"/>
                  <a:pt x="1912" y="2081"/>
                  <a:pt x="1912" y="2081"/>
                </a:cubicBezTo>
                <a:cubicBezTo>
                  <a:pt x="1915" y="2079"/>
                  <a:pt x="1917" y="2076"/>
                  <a:pt x="1920" y="2074"/>
                </a:cubicBezTo>
                <a:cubicBezTo>
                  <a:pt x="1930" y="2066"/>
                  <a:pt x="1939" y="2057"/>
                  <a:pt x="1949" y="2049"/>
                </a:cubicBezTo>
                <a:cubicBezTo>
                  <a:pt x="1952" y="2046"/>
                  <a:pt x="1954" y="2044"/>
                  <a:pt x="1957" y="2042"/>
                </a:cubicBezTo>
                <a:cubicBezTo>
                  <a:pt x="1964" y="2035"/>
                  <a:pt x="1964" y="2035"/>
                  <a:pt x="1964" y="2035"/>
                </a:cubicBezTo>
                <a:cubicBezTo>
                  <a:pt x="1978" y="2022"/>
                  <a:pt x="1978" y="2022"/>
                  <a:pt x="1978" y="2022"/>
                </a:cubicBezTo>
                <a:cubicBezTo>
                  <a:pt x="1987" y="2013"/>
                  <a:pt x="1997" y="2004"/>
                  <a:pt x="2006" y="1994"/>
                </a:cubicBezTo>
                <a:cubicBezTo>
                  <a:pt x="2015" y="1985"/>
                  <a:pt x="2024" y="1975"/>
                  <a:pt x="2033" y="1966"/>
                </a:cubicBezTo>
                <a:cubicBezTo>
                  <a:pt x="2042" y="1956"/>
                  <a:pt x="2050" y="1946"/>
                  <a:pt x="2059" y="1936"/>
                </a:cubicBezTo>
                <a:cubicBezTo>
                  <a:pt x="2072" y="1921"/>
                  <a:pt x="2072" y="1921"/>
                  <a:pt x="2072" y="1921"/>
                </a:cubicBezTo>
                <a:cubicBezTo>
                  <a:pt x="2084" y="1905"/>
                  <a:pt x="2084" y="1905"/>
                  <a:pt x="2084" y="1905"/>
                </a:cubicBezTo>
                <a:cubicBezTo>
                  <a:pt x="2093" y="1895"/>
                  <a:pt x="2101" y="1884"/>
                  <a:pt x="2109" y="1874"/>
                </a:cubicBezTo>
                <a:cubicBezTo>
                  <a:pt x="2124" y="1852"/>
                  <a:pt x="2140" y="1831"/>
                  <a:pt x="2154" y="1808"/>
                </a:cubicBezTo>
                <a:cubicBezTo>
                  <a:pt x="2165" y="1791"/>
                  <a:pt x="2165" y="1791"/>
                  <a:pt x="2165" y="1791"/>
                </a:cubicBezTo>
                <a:cubicBezTo>
                  <a:pt x="2170" y="1783"/>
                  <a:pt x="2170" y="1783"/>
                  <a:pt x="2170" y="1783"/>
                </a:cubicBezTo>
                <a:cubicBezTo>
                  <a:pt x="2175" y="1774"/>
                  <a:pt x="2175" y="1774"/>
                  <a:pt x="2175" y="1774"/>
                </a:cubicBezTo>
                <a:cubicBezTo>
                  <a:pt x="2182" y="1762"/>
                  <a:pt x="2189" y="1751"/>
                  <a:pt x="2195" y="1739"/>
                </a:cubicBezTo>
                <a:cubicBezTo>
                  <a:pt x="2199" y="1733"/>
                  <a:pt x="2202" y="1727"/>
                  <a:pt x="2205" y="1721"/>
                </a:cubicBezTo>
                <a:cubicBezTo>
                  <a:pt x="2214" y="1703"/>
                  <a:pt x="2214" y="1703"/>
                  <a:pt x="2214" y="1703"/>
                </a:cubicBezTo>
                <a:cubicBezTo>
                  <a:pt x="2223" y="1685"/>
                  <a:pt x="2223" y="1685"/>
                  <a:pt x="2223" y="1685"/>
                </a:cubicBezTo>
                <a:cubicBezTo>
                  <a:pt x="2226" y="1679"/>
                  <a:pt x="2229" y="1673"/>
                  <a:pt x="2232" y="1667"/>
                </a:cubicBezTo>
                <a:cubicBezTo>
                  <a:pt x="2237" y="1655"/>
                  <a:pt x="2243" y="1643"/>
                  <a:pt x="2248" y="1630"/>
                </a:cubicBezTo>
                <a:cubicBezTo>
                  <a:pt x="2253" y="1618"/>
                  <a:pt x="2258" y="1605"/>
                  <a:pt x="2263" y="1593"/>
                </a:cubicBezTo>
                <a:cubicBezTo>
                  <a:pt x="2267" y="1583"/>
                  <a:pt x="2267" y="1583"/>
                  <a:pt x="2267" y="1583"/>
                </a:cubicBezTo>
                <a:cubicBezTo>
                  <a:pt x="2268" y="1580"/>
                  <a:pt x="2269" y="1577"/>
                  <a:pt x="2270" y="1574"/>
                </a:cubicBezTo>
                <a:cubicBezTo>
                  <a:pt x="2277" y="1554"/>
                  <a:pt x="2277" y="1554"/>
                  <a:pt x="2277" y="1554"/>
                </a:cubicBezTo>
                <a:cubicBezTo>
                  <a:pt x="2283" y="1535"/>
                  <a:pt x="2283" y="1535"/>
                  <a:pt x="2283" y="1535"/>
                </a:cubicBezTo>
                <a:cubicBezTo>
                  <a:pt x="2286" y="1529"/>
                  <a:pt x="2288" y="1522"/>
                  <a:pt x="2289" y="1516"/>
                </a:cubicBezTo>
                <a:cubicBezTo>
                  <a:pt x="2293" y="1503"/>
                  <a:pt x="2297" y="1490"/>
                  <a:pt x="2301" y="1477"/>
                </a:cubicBezTo>
                <a:cubicBezTo>
                  <a:pt x="2303" y="1467"/>
                  <a:pt x="2303" y="1467"/>
                  <a:pt x="2303" y="1467"/>
                </a:cubicBezTo>
                <a:cubicBezTo>
                  <a:pt x="2306" y="1457"/>
                  <a:pt x="2306" y="1457"/>
                  <a:pt x="2306" y="1457"/>
                </a:cubicBezTo>
                <a:cubicBezTo>
                  <a:pt x="2310" y="1437"/>
                  <a:pt x="2310" y="1437"/>
                  <a:pt x="2310" y="1437"/>
                </a:cubicBezTo>
                <a:cubicBezTo>
                  <a:pt x="2317" y="1411"/>
                  <a:pt x="2321" y="1384"/>
                  <a:pt x="2326" y="1357"/>
                </a:cubicBezTo>
                <a:cubicBezTo>
                  <a:pt x="2327" y="1354"/>
                  <a:pt x="2327" y="1350"/>
                  <a:pt x="2327" y="1347"/>
                </a:cubicBezTo>
                <a:cubicBezTo>
                  <a:pt x="2329" y="1337"/>
                  <a:pt x="2329" y="1337"/>
                  <a:pt x="2329" y="1337"/>
                </a:cubicBezTo>
                <a:cubicBezTo>
                  <a:pt x="2331" y="1317"/>
                  <a:pt x="2331" y="1317"/>
                  <a:pt x="2331" y="1317"/>
                </a:cubicBezTo>
                <a:cubicBezTo>
                  <a:pt x="2334" y="1296"/>
                  <a:pt x="2334" y="1296"/>
                  <a:pt x="2334" y="1296"/>
                </a:cubicBezTo>
                <a:cubicBezTo>
                  <a:pt x="2335" y="1290"/>
                  <a:pt x="2335" y="1283"/>
                  <a:pt x="2336" y="1276"/>
                </a:cubicBezTo>
                <a:cubicBezTo>
                  <a:pt x="2339" y="1235"/>
                  <a:pt x="2339" y="1235"/>
                  <a:pt x="2339" y="1235"/>
                </a:cubicBezTo>
                <a:cubicBezTo>
                  <a:pt x="2340" y="1195"/>
                  <a:pt x="2340" y="1195"/>
                  <a:pt x="2340" y="1195"/>
                </a:cubicBezTo>
                <a:cubicBezTo>
                  <a:pt x="2340" y="1174"/>
                  <a:pt x="2340" y="1174"/>
                  <a:pt x="2340" y="1174"/>
                </a:cubicBezTo>
                <a:cubicBezTo>
                  <a:pt x="2340" y="1154"/>
                  <a:pt x="2340" y="1154"/>
                  <a:pt x="2340" y="1154"/>
                </a:cubicBezTo>
                <a:cubicBezTo>
                  <a:pt x="2339" y="1113"/>
                  <a:pt x="2339" y="1113"/>
                  <a:pt x="2339" y="1113"/>
                </a:cubicBezTo>
                <a:cubicBezTo>
                  <a:pt x="2336" y="1072"/>
                  <a:pt x="2336" y="1072"/>
                  <a:pt x="2336" y="1072"/>
                </a:cubicBezTo>
                <a:cubicBezTo>
                  <a:pt x="2335" y="1066"/>
                  <a:pt x="2335" y="1059"/>
                  <a:pt x="2334" y="1052"/>
                </a:cubicBezTo>
                <a:cubicBezTo>
                  <a:pt x="2331" y="1032"/>
                  <a:pt x="2331" y="1032"/>
                  <a:pt x="2331" y="1032"/>
                </a:cubicBezTo>
                <a:cubicBezTo>
                  <a:pt x="2330" y="1018"/>
                  <a:pt x="2328" y="1005"/>
                  <a:pt x="2326" y="991"/>
                </a:cubicBezTo>
                <a:cubicBezTo>
                  <a:pt x="2319" y="951"/>
                  <a:pt x="2319" y="951"/>
                  <a:pt x="2319" y="951"/>
                </a:cubicBezTo>
                <a:cubicBezTo>
                  <a:pt x="2317" y="938"/>
                  <a:pt x="2313" y="924"/>
                  <a:pt x="2310" y="911"/>
                </a:cubicBezTo>
                <a:cubicBezTo>
                  <a:pt x="2306" y="891"/>
                  <a:pt x="2306" y="891"/>
                  <a:pt x="2306" y="891"/>
                </a:cubicBezTo>
                <a:cubicBezTo>
                  <a:pt x="2303" y="881"/>
                  <a:pt x="2303" y="881"/>
                  <a:pt x="2303" y="881"/>
                </a:cubicBezTo>
                <a:cubicBezTo>
                  <a:pt x="2301" y="871"/>
                  <a:pt x="2301" y="871"/>
                  <a:pt x="2301" y="871"/>
                </a:cubicBezTo>
                <a:cubicBezTo>
                  <a:pt x="2289" y="832"/>
                  <a:pt x="2289" y="832"/>
                  <a:pt x="2289" y="832"/>
                </a:cubicBezTo>
                <a:cubicBezTo>
                  <a:pt x="2288" y="826"/>
                  <a:pt x="2285" y="819"/>
                  <a:pt x="2283" y="813"/>
                </a:cubicBezTo>
                <a:cubicBezTo>
                  <a:pt x="2277" y="793"/>
                  <a:pt x="2277" y="793"/>
                  <a:pt x="2277" y="793"/>
                </a:cubicBezTo>
                <a:cubicBezTo>
                  <a:pt x="2270" y="774"/>
                  <a:pt x="2270" y="774"/>
                  <a:pt x="2270" y="774"/>
                </a:cubicBezTo>
                <a:cubicBezTo>
                  <a:pt x="2268" y="768"/>
                  <a:pt x="2265" y="762"/>
                  <a:pt x="2263" y="755"/>
                </a:cubicBezTo>
                <a:cubicBezTo>
                  <a:pt x="2258" y="743"/>
                  <a:pt x="2253" y="730"/>
                  <a:pt x="2248" y="717"/>
                </a:cubicBezTo>
                <a:cubicBezTo>
                  <a:pt x="2242" y="705"/>
                  <a:pt x="2237" y="693"/>
                  <a:pt x="2231" y="680"/>
                </a:cubicBezTo>
                <a:cubicBezTo>
                  <a:pt x="2229" y="674"/>
                  <a:pt x="2226" y="668"/>
                  <a:pt x="2223" y="662"/>
                </a:cubicBezTo>
                <a:cubicBezTo>
                  <a:pt x="2214" y="644"/>
                  <a:pt x="2214" y="644"/>
                  <a:pt x="2214" y="644"/>
                </a:cubicBezTo>
                <a:cubicBezTo>
                  <a:pt x="2204" y="626"/>
                  <a:pt x="2204" y="626"/>
                  <a:pt x="2204" y="626"/>
                </a:cubicBezTo>
                <a:cubicBezTo>
                  <a:pt x="2201" y="620"/>
                  <a:pt x="2198" y="614"/>
                  <a:pt x="2195" y="608"/>
                </a:cubicBezTo>
                <a:cubicBezTo>
                  <a:pt x="2188" y="596"/>
                  <a:pt x="2181" y="585"/>
                  <a:pt x="2175" y="573"/>
                </a:cubicBezTo>
                <a:cubicBezTo>
                  <a:pt x="2173" y="570"/>
                  <a:pt x="2171" y="567"/>
                  <a:pt x="2170" y="564"/>
                </a:cubicBezTo>
                <a:cubicBezTo>
                  <a:pt x="2164" y="556"/>
                  <a:pt x="2164" y="556"/>
                  <a:pt x="2164" y="556"/>
                </a:cubicBezTo>
                <a:cubicBezTo>
                  <a:pt x="2153" y="539"/>
                  <a:pt x="2153" y="539"/>
                  <a:pt x="2153" y="539"/>
                </a:cubicBezTo>
                <a:cubicBezTo>
                  <a:pt x="2142" y="522"/>
                  <a:pt x="2142" y="522"/>
                  <a:pt x="2142" y="522"/>
                </a:cubicBezTo>
                <a:cubicBezTo>
                  <a:pt x="2140" y="518"/>
                  <a:pt x="2140" y="518"/>
                  <a:pt x="2140" y="518"/>
                </a:cubicBezTo>
                <a:cubicBezTo>
                  <a:pt x="2137" y="513"/>
                  <a:pt x="2137" y="513"/>
                  <a:pt x="2137" y="513"/>
                </a:cubicBezTo>
                <a:cubicBezTo>
                  <a:pt x="2131" y="505"/>
                  <a:pt x="2131" y="505"/>
                  <a:pt x="2131" y="505"/>
                </a:cubicBezTo>
                <a:cubicBezTo>
                  <a:pt x="2123" y="494"/>
                  <a:pt x="2115" y="483"/>
                  <a:pt x="2108" y="473"/>
                </a:cubicBezTo>
                <a:cubicBezTo>
                  <a:pt x="2100" y="462"/>
                  <a:pt x="2091" y="451"/>
                  <a:pt x="2083" y="441"/>
                </a:cubicBezTo>
                <a:cubicBezTo>
                  <a:pt x="2079" y="436"/>
                  <a:pt x="2075" y="430"/>
                  <a:pt x="2071" y="425"/>
                </a:cubicBezTo>
                <a:cubicBezTo>
                  <a:pt x="2057" y="410"/>
                  <a:pt x="2057" y="410"/>
                  <a:pt x="2057" y="410"/>
                </a:cubicBezTo>
                <a:cubicBezTo>
                  <a:pt x="2044" y="395"/>
                  <a:pt x="2044" y="395"/>
                  <a:pt x="2044" y="395"/>
                </a:cubicBezTo>
                <a:cubicBezTo>
                  <a:pt x="2040" y="390"/>
                  <a:pt x="2036" y="385"/>
                  <a:pt x="2031" y="380"/>
                </a:cubicBezTo>
                <a:cubicBezTo>
                  <a:pt x="2022" y="371"/>
                  <a:pt x="2013" y="361"/>
                  <a:pt x="2004" y="351"/>
                </a:cubicBezTo>
                <a:cubicBezTo>
                  <a:pt x="1997" y="344"/>
                  <a:pt x="1997" y="344"/>
                  <a:pt x="1997" y="344"/>
                </a:cubicBezTo>
                <a:cubicBezTo>
                  <a:pt x="1990" y="337"/>
                  <a:pt x="1990" y="337"/>
                  <a:pt x="1990" y="337"/>
                </a:cubicBezTo>
                <a:cubicBezTo>
                  <a:pt x="1975" y="324"/>
                  <a:pt x="1975" y="324"/>
                  <a:pt x="1975" y="324"/>
                </a:cubicBezTo>
                <a:cubicBezTo>
                  <a:pt x="1956" y="305"/>
                  <a:pt x="1936" y="288"/>
                  <a:pt x="1916" y="271"/>
                </a:cubicBezTo>
                <a:cubicBezTo>
                  <a:pt x="1914" y="269"/>
                  <a:pt x="1911" y="267"/>
                  <a:pt x="1909" y="265"/>
                </a:cubicBezTo>
                <a:cubicBezTo>
                  <a:pt x="1901" y="259"/>
                  <a:pt x="1901" y="259"/>
                  <a:pt x="1901" y="259"/>
                </a:cubicBezTo>
                <a:cubicBezTo>
                  <a:pt x="1886" y="246"/>
                  <a:pt x="1886" y="246"/>
                  <a:pt x="1886" y="246"/>
                </a:cubicBezTo>
                <a:cubicBezTo>
                  <a:pt x="1870" y="234"/>
                  <a:pt x="1870" y="234"/>
                  <a:pt x="1870" y="234"/>
                </a:cubicBezTo>
                <a:cubicBezTo>
                  <a:pt x="1865" y="230"/>
                  <a:pt x="1859" y="227"/>
                  <a:pt x="1854" y="223"/>
                </a:cubicBezTo>
                <a:cubicBezTo>
                  <a:pt x="1844" y="215"/>
                  <a:pt x="1833" y="208"/>
                  <a:pt x="1822" y="200"/>
                </a:cubicBezTo>
                <a:cubicBezTo>
                  <a:pt x="1811" y="193"/>
                  <a:pt x="1800" y="186"/>
                  <a:pt x="1789" y="179"/>
                </a:cubicBezTo>
                <a:cubicBezTo>
                  <a:pt x="1784" y="176"/>
                  <a:pt x="1779" y="172"/>
                  <a:pt x="1773" y="169"/>
                </a:cubicBezTo>
                <a:cubicBezTo>
                  <a:pt x="1756" y="159"/>
                  <a:pt x="1756" y="159"/>
                  <a:pt x="1756" y="159"/>
                </a:cubicBezTo>
                <a:cubicBezTo>
                  <a:pt x="1745" y="153"/>
                  <a:pt x="1734" y="146"/>
                  <a:pt x="1723" y="140"/>
                </a:cubicBezTo>
                <a:cubicBezTo>
                  <a:pt x="1711" y="134"/>
                  <a:pt x="1700" y="128"/>
                  <a:pt x="1688" y="122"/>
                </a:cubicBezTo>
                <a:cubicBezTo>
                  <a:pt x="1680" y="118"/>
                  <a:pt x="1680" y="118"/>
                  <a:pt x="1680" y="118"/>
                </a:cubicBezTo>
                <a:cubicBezTo>
                  <a:pt x="1677" y="117"/>
                  <a:pt x="1674" y="115"/>
                  <a:pt x="1671" y="114"/>
                </a:cubicBezTo>
                <a:cubicBezTo>
                  <a:pt x="1665" y="111"/>
                  <a:pt x="1659" y="109"/>
                  <a:pt x="1654" y="106"/>
                </a:cubicBezTo>
                <a:cubicBezTo>
                  <a:pt x="1648" y="103"/>
                  <a:pt x="1642" y="101"/>
                  <a:pt x="1636" y="98"/>
                </a:cubicBezTo>
                <a:cubicBezTo>
                  <a:pt x="1627" y="94"/>
                  <a:pt x="1627" y="94"/>
                  <a:pt x="1627" y="94"/>
                </a:cubicBezTo>
                <a:cubicBezTo>
                  <a:pt x="1623" y="92"/>
                  <a:pt x="1623" y="92"/>
                  <a:pt x="1623" y="92"/>
                </a:cubicBezTo>
                <a:cubicBezTo>
                  <a:pt x="1619" y="90"/>
                  <a:pt x="1619" y="90"/>
                  <a:pt x="1619" y="90"/>
                </a:cubicBezTo>
                <a:cubicBezTo>
                  <a:pt x="1607" y="86"/>
                  <a:pt x="1595" y="81"/>
                  <a:pt x="1583" y="76"/>
                </a:cubicBezTo>
                <a:cubicBezTo>
                  <a:pt x="1574" y="73"/>
                  <a:pt x="1574" y="73"/>
                  <a:pt x="1574" y="73"/>
                </a:cubicBezTo>
                <a:cubicBezTo>
                  <a:pt x="1571" y="72"/>
                  <a:pt x="1569" y="71"/>
                  <a:pt x="1566" y="70"/>
                </a:cubicBezTo>
                <a:cubicBezTo>
                  <a:pt x="1560" y="68"/>
                  <a:pt x="1554" y="66"/>
                  <a:pt x="1548" y="64"/>
                </a:cubicBezTo>
                <a:cubicBezTo>
                  <a:pt x="1536" y="60"/>
                  <a:pt x="1524" y="55"/>
                  <a:pt x="1512" y="52"/>
                </a:cubicBezTo>
                <a:cubicBezTo>
                  <a:pt x="1500" y="48"/>
                  <a:pt x="1488" y="45"/>
                  <a:pt x="1476" y="41"/>
                </a:cubicBezTo>
                <a:cubicBezTo>
                  <a:pt x="1470" y="40"/>
                  <a:pt x="1464" y="38"/>
                  <a:pt x="1458" y="36"/>
                </a:cubicBezTo>
                <a:cubicBezTo>
                  <a:pt x="1452" y="35"/>
                  <a:pt x="1445" y="34"/>
                  <a:pt x="1439" y="32"/>
                </a:cubicBezTo>
                <a:cubicBezTo>
                  <a:pt x="1427" y="29"/>
                  <a:pt x="1415" y="27"/>
                  <a:pt x="1403" y="24"/>
                </a:cubicBezTo>
                <a:cubicBezTo>
                  <a:pt x="1391" y="22"/>
                  <a:pt x="1379" y="19"/>
                  <a:pt x="1367" y="17"/>
                </a:cubicBezTo>
                <a:cubicBezTo>
                  <a:pt x="1361" y="16"/>
                  <a:pt x="1355" y="15"/>
                  <a:pt x="1349" y="14"/>
                </a:cubicBezTo>
                <a:cubicBezTo>
                  <a:pt x="1343" y="13"/>
                  <a:pt x="1337" y="12"/>
                  <a:pt x="1330" y="12"/>
                </a:cubicBezTo>
                <a:cubicBezTo>
                  <a:pt x="1318" y="10"/>
                  <a:pt x="1306" y="8"/>
                  <a:pt x="1294" y="7"/>
                </a:cubicBezTo>
                <a:cubicBezTo>
                  <a:pt x="1291" y="7"/>
                  <a:pt x="1288" y="6"/>
                  <a:pt x="1285" y="6"/>
                </a:cubicBezTo>
                <a:cubicBezTo>
                  <a:pt x="1276" y="5"/>
                  <a:pt x="1276" y="5"/>
                  <a:pt x="1276" y="5"/>
                </a:cubicBezTo>
                <a:cubicBezTo>
                  <a:pt x="1270" y="5"/>
                  <a:pt x="1264" y="4"/>
                  <a:pt x="1258" y="4"/>
                </a:cubicBezTo>
                <a:cubicBezTo>
                  <a:pt x="1252" y="3"/>
                  <a:pt x="1246" y="3"/>
                  <a:pt x="1240" y="2"/>
                </a:cubicBezTo>
                <a:cubicBezTo>
                  <a:pt x="1231" y="2"/>
                  <a:pt x="1231" y="2"/>
                  <a:pt x="1231" y="2"/>
                </a:cubicBezTo>
                <a:cubicBezTo>
                  <a:pt x="1226" y="1"/>
                  <a:pt x="1226" y="1"/>
                  <a:pt x="1226" y="1"/>
                </a:cubicBezTo>
                <a:cubicBezTo>
                  <a:pt x="1222" y="1"/>
                  <a:pt x="1222" y="1"/>
                  <a:pt x="1222" y="1"/>
                </a:cubicBezTo>
                <a:cubicBezTo>
                  <a:pt x="1210" y="1"/>
                  <a:pt x="1198" y="1"/>
                  <a:pt x="1186" y="0"/>
                </a:cubicBezTo>
                <a:cubicBezTo>
                  <a:pt x="1180" y="0"/>
                  <a:pt x="1174" y="0"/>
                  <a:pt x="1168" y="0"/>
                </a:cubicBezTo>
                <a:cubicBezTo>
                  <a:pt x="1162" y="0"/>
                  <a:pt x="1156" y="0"/>
                  <a:pt x="1150" y="0"/>
                </a:cubicBezTo>
                <a:cubicBezTo>
                  <a:pt x="1139" y="0"/>
                  <a:pt x="1127" y="1"/>
                  <a:pt x="1115" y="1"/>
                </a:cubicBezTo>
                <a:cubicBezTo>
                  <a:pt x="1109" y="1"/>
                  <a:pt x="1103" y="2"/>
                  <a:pt x="1097" y="2"/>
                </a:cubicBezTo>
                <a:cubicBezTo>
                  <a:pt x="1092" y="2"/>
                  <a:pt x="1086" y="3"/>
                  <a:pt x="1080" y="3"/>
                </a:cubicBezTo>
                <a:cubicBezTo>
                  <a:pt x="1074" y="4"/>
                  <a:pt x="1068" y="4"/>
                  <a:pt x="1062" y="4"/>
                </a:cubicBezTo>
                <a:cubicBezTo>
                  <a:pt x="1059" y="5"/>
                  <a:pt x="1057" y="5"/>
                  <a:pt x="1054" y="5"/>
                </a:cubicBezTo>
                <a:cubicBezTo>
                  <a:pt x="1045" y="6"/>
                  <a:pt x="1045" y="6"/>
                  <a:pt x="1045" y="6"/>
                </a:cubicBezTo>
                <a:cubicBezTo>
                  <a:pt x="1033" y="8"/>
                  <a:pt x="1022" y="9"/>
                  <a:pt x="1010" y="10"/>
                </a:cubicBezTo>
                <a:cubicBezTo>
                  <a:pt x="999" y="11"/>
                  <a:pt x="988" y="14"/>
                  <a:pt x="976" y="15"/>
                </a:cubicBezTo>
                <a:cubicBezTo>
                  <a:pt x="965" y="17"/>
                  <a:pt x="954" y="19"/>
                  <a:pt x="943" y="21"/>
                </a:cubicBezTo>
                <a:cubicBezTo>
                  <a:pt x="931" y="24"/>
                  <a:pt x="920" y="26"/>
                  <a:pt x="909" y="28"/>
                </a:cubicBezTo>
                <a:cubicBezTo>
                  <a:pt x="904" y="29"/>
                  <a:pt x="898" y="31"/>
                  <a:pt x="893" y="32"/>
                </a:cubicBezTo>
                <a:cubicBezTo>
                  <a:pt x="887" y="33"/>
                  <a:pt x="882" y="35"/>
                  <a:pt x="876" y="36"/>
                </a:cubicBezTo>
                <a:cubicBezTo>
                  <a:pt x="866" y="39"/>
                  <a:pt x="855" y="42"/>
                  <a:pt x="844" y="45"/>
                </a:cubicBezTo>
                <a:cubicBezTo>
                  <a:pt x="833" y="48"/>
                  <a:pt x="823" y="51"/>
                  <a:pt x="812" y="54"/>
                </a:cubicBezTo>
                <a:cubicBezTo>
                  <a:pt x="791" y="60"/>
                  <a:pt x="771" y="68"/>
                  <a:pt x="750" y="76"/>
                </a:cubicBezTo>
                <a:cubicBezTo>
                  <a:pt x="740" y="79"/>
                  <a:pt x="730" y="84"/>
                  <a:pt x="720" y="88"/>
                </a:cubicBezTo>
                <a:cubicBezTo>
                  <a:pt x="710" y="92"/>
                  <a:pt x="701" y="96"/>
                  <a:pt x="691" y="100"/>
                </a:cubicBezTo>
                <a:cubicBezTo>
                  <a:pt x="681" y="104"/>
                  <a:pt x="672" y="109"/>
                  <a:pt x="662" y="113"/>
                </a:cubicBezTo>
                <a:cubicBezTo>
                  <a:pt x="653" y="118"/>
                  <a:pt x="643" y="122"/>
                  <a:pt x="634" y="127"/>
                </a:cubicBezTo>
                <a:cubicBezTo>
                  <a:pt x="615" y="137"/>
                  <a:pt x="597" y="146"/>
                  <a:pt x="579" y="157"/>
                </a:cubicBezTo>
                <a:cubicBezTo>
                  <a:pt x="509" y="198"/>
                  <a:pt x="445" y="244"/>
                  <a:pt x="389" y="294"/>
                </a:cubicBezTo>
                <a:cubicBezTo>
                  <a:pt x="333" y="343"/>
                  <a:pt x="285" y="395"/>
                  <a:pt x="244" y="447"/>
                </a:cubicBezTo>
                <a:cubicBezTo>
                  <a:pt x="203" y="499"/>
                  <a:pt x="169" y="551"/>
                  <a:pt x="141" y="601"/>
                </a:cubicBezTo>
                <a:cubicBezTo>
                  <a:pt x="126" y="626"/>
                  <a:pt x="115" y="651"/>
                  <a:pt x="103" y="675"/>
                </a:cubicBezTo>
                <a:cubicBezTo>
                  <a:pt x="92" y="699"/>
                  <a:pt x="82" y="722"/>
                  <a:pt x="73" y="744"/>
                </a:cubicBezTo>
                <a:cubicBezTo>
                  <a:pt x="38" y="833"/>
                  <a:pt x="21" y="906"/>
                  <a:pt x="12" y="957"/>
                </a:cubicBezTo>
                <a:cubicBezTo>
                  <a:pt x="7" y="982"/>
                  <a:pt x="5" y="1001"/>
                  <a:pt x="3" y="1014"/>
                </a:cubicBezTo>
                <a:cubicBezTo>
                  <a:pt x="1" y="1027"/>
                  <a:pt x="0" y="1034"/>
                  <a:pt x="0" y="1034"/>
                </a:cubicBezTo>
                <a:lnTo>
                  <a:pt x="153" y="10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23FE6F48-72BE-4BA7-9A76-0DE5D8B4340A}"/>
              </a:ext>
            </a:extLst>
          </p:cNvPr>
          <p:cNvSpPr/>
          <p:nvPr/>
        </p:nvSpPr>
        <p:spPr>
          <a:xfrm>
            <a:off x="3916554" y="3053636"/>
            <a:ext cx="1308426" cy="131038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EF631F04-334B-44C2-947C-F8B07240ABCD}"/>
              </a:ext>
            </a:extLst>
          </p:cNvPr>
          <p:cNvSpPr/>
          <p:nvPr/>
        </p:nvSpPr>
        <p:spPr>
          <a:xfrm>
            <a:off x="6967020" y="3053636"/>
            <a:ext cx="1308426" cy="131038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A58C7257-A892-443D-8081-F6D922180B47}"/>
              </a:ext>
            </a:extLst>
          </p:cNvPr>
          <p:cNvSpPr/>
          <p:nvPr/>
        </p:nvSpPr>
        <p:spPr>
          <a:xfrm>
            <a:off x="5481673" y="1436815"/>
            <a:ext cx="1308426" cy="131038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B00A5B86-D1BD-4494-95DF-51B85ECD69DC}"/>
              </a:ext>
            </a:extLst>
          </p:cNvPr>
          <p:cNvSpPr/>
          <p:nvPr/>
        </p:nvSpPr>
        <p:spPr>
          <a:xfrm>
            <a:off x="5441787" y="4506074"/>
            <a:ext cx="1308426" cy="131038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DC6BABFC-CCE6-4855-9B5F-0686122001CC}"/>
              </a:ext>
            </a:extLst>
          </p:cNvPr>
          <p:cNvSpPr/>
          <p:nvPr/>
        </p:nvSpPr>
        <p:spPr>
          <a:xfrm>
            <a:off x="5908138" y="3126514"/>
            <a:ext cx="454544" cy="431171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5A451B6-2E87-49C9-AB2D-8B04EF14C372}"/>
              </a:ext>
            </a:extLst>
          </p:cNvPr>
          <p:cNvSpPr txBox="1"/>
          <p:nvPr/>
        </p:nvSpPr>
        <p:spPr>
          <a:xfrm>
            <a:off x="5132586" y="3621611"/>
            <a:ext cx="2005648" cy="433178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Autofit/>
          </a:bodyPr>
          <a:lstStyle/>
          <a:p>
            <a:pPr algn="ctr"/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6" name="矩形: 剪去左右顶角 15">
            <a:extLst>
              <a:ext uri="{FF2B5EF4-FFF2-40B4-BE49-F238E27FC236}">
                <a16:creationId xmlns:a16="http://schemas.microsoft.com/office/drawing/2014/main" id="{D1BA0B6B-2BDC-4094-84E7-91249301809F}"/>
              </a:ext>
            </a:extLst>
          </p:cNvPr>
          <p:cNvSpPr/>
          <p:nvPr/>
        </p:nvSpPr>
        <p:spPr>
          <a:xfrm>
            <a:off x="3328616" y="1992282"/>
            <a:ext cx="2366320" cy="8221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30599B8-D7DE-4FEA-9930-81E6845D0B96}"/>
              </a:ext>
            </a:extLst>
          </p:cNvPr>
          <p:cNvSpPr txBox="1"/>
          <p:nvPr/>
        </p:nvSpPr>
        <p:spPr bwMode="auto">
          <a:xfrm>
            <a:off x="3328616" y="1460054"/>
            <a:ext cx="236632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8" name="矩形: 剪去左右顶角 17">
            <a:extLst>
              <a:ext uri="{FF2B5EF4-FFF2-40B4-BE49-F238E27FC236}">
                <a16:creationId xmlns:a16="http://schemas.microsoft.com/office/drawing/2014/main" id="{4558413D-0B8D-43C4-94AD-F235D0A1C74C}"/>
              </a:ext>
            </a:extLst>
          </p:cNvPr>
          <p:cNvSpPr/>
          <p:nvPr/>
        </p:nvSpPr>
        <p:spPr>
          <a:xfrm>
            <a:off x="7301097" y="5413437"/>
            <a:ext cx="2366320" cy="8221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26592CF-C441-4D5B-A617-E4B49C4F3374}"/>
              </a:ext>
            </a:extLst>
          </p:cNvPr>
          <p:cNvSpPr txBox="1"/>
          <p:nvPr/>
        </p:nvSpPr>
        <p:spPr bwMode="auto">
          <a:xfrm>
            <a:off x="7301097" y="4881209"/>
            <a:ext cx="236632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3156465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288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5A05F25-E037-45CE-887B-5B0067F26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0BEA226-E897-4C51-9191-A5D28E814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3379FB6-F8D3-4365-8211-ED973A2ED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9AB9C1D1-BDF1-4B0F-BB12-3F36856488F7}"/>
              </a:ext>
            </a:extLst>
          </p:cNvPr>
          <p:cNvSpPr/>
          <p:nvPr/>
        </p:nvSpPr>
        <p:spPr>
          <a:xfrm rot="3600000">
            <a:off x="5478079" y="2537504"/>
            <a:ext cx="2204319" cy="1103710"/>
          </a:xfrm>
          <a:custGeom>
            <a:avLst/>
            <a:gdLst>
              <a:gd name="connsiteX0" fmla="*/ 1213505 w 1391850"/>
              <a:gd name="connsiteY0" fmla="*/ 0 h 696292"/>
              <a:gd name="connsiteX1" fmla="*/ 1391850 w 1391850"/>
              <a:gd name="connsiteY1" fmla="*/ 680523 h 696292"/>
              <a:gd name="connsiteX2" fmla="*/ 664395 w 1391850"/>
              <a:gd name="connsiteY2" fmla="*/ 679784 h 696292"/>
              <a:gd name="connsiteX3" fmla="*/ 810270 w 1391850"/>
              <a:gd name="connsiteY3" fmla="*/ 476062 h 696292"/>
              <a:gd name="connsiteX4" fmla="*/ 0 w 1391850"/>
              <a:gd name="connsiteY4" fmla="*/ 696292 h 696292"/>
              <a:gd name="connsiteX5" fmla="*/ 1084978 w 1391850"/>
              <a:gd name="connsiteY5" fmla="*/ 149640 h 696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close/>
              </a:path>
            </a:pathLst>
          </a:custGeom>
          <a:solidFill>
            <a:schemeClr val="accent3"/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531B8DFE-A54B-4169-8F70-461A25DFBAFB}"/>
              </a:ext>
            </a:extLst>
          </p:cNvPr>
          <p:cNvSpPr/>
          <p:nvPr/>
        </p:nvSpPr>
        <p:spPr>
          <a:xfrm rot="3600000" flipH="1" flipV="1">
            <a:off x="4351203" y="3188107"/>
            <a:ext cx="2204319" cy="1103710"/>
          </a:xfrm>
          <a:custGeom>
            <a:avLst/>
            <a:gdLst>
              <a:gd name="connsiteX0" fmla="*/ 1213505 w 1391850"/>
              <a:gd name="connsiteY0" fmla="*/ 0 h 696292"/>
              <a:gd name="connsiteX1" fmla="*/ 1391850 w 1391850"/>
              <a:gd name="connsiteY1" fmla="*/ 680523 h 696292"/>
              <a:gd name="connsiteX2" fmla="*/ 664395 w 1391850"/>
              <a:gd name="connsiteY2" fmla="*/ 679784 h 696292"/>
              <a:gd name="connsiteX3" fmla="*/ 810270 w 1391850"/>
              <a:gd name="connsiteY3" fmla="*/ 476062 h 696292"/>
              <a:gd name="connsiteX4" fmla="*/ 0 w 1391850"/>
              <a:gd name="connsiteY4" fmla="*/ 696292 h 696292"/>
              <a:gd name="connsiteX5" fmla="*/ 1084978 w 1391850"/>
              <a:gd name="connsiteY5" fmla="*/ 149640 h 696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91850" h="696292">
                <a:moveTo>
                  <a:pt x="1213505" y="0"/>
                </a:moveTo>
                <a:lnTo>
                  <a:pt x="1391850" y="680523"/>
                </a:lnTo>
                <a:lnTo>
                  <a:pt x="664395" y="679784"/>
                </a:lnTo>
                <a:lnTo>
                  <a:pt x="810270" y="476062"/>
                </a:lnTo>
                <a:cubicBezTo>
                  <a:pt x="711564" y="424684"/>
                  <a:pt x="364296" y="301346"/>
                  <a:pt x="0" y="696292"/>
                </a:cubicBezTo>
                <a:cubicBezTo>
                  <a:pt x="100779" y="106417"/>
                  <a:pt x="733669" y="-15667"/>
                  <a:pt x="1084978" y="149640"/>
                </a:cubicBezTo>
                <a:close/>
              </a:path>
            </a:pathLst>
          </a:custGeom>
          <a:solidFill>
            <a:schemeClr val="accent1"/>
          </a:solidFill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D3B86561-24B4-4E62-B745-7B52B7C9B7C7}"/>
              </a:ext>
            </a:extLst>
          </p:cNvPr>
          <p:cNvSpPr/>
          <p:nvPr/>
        </p:nvSpPr>
        <p:spPr>
          <a:xfrm>
            <a:off x="7604268" y="1486835"/>
            <a:ext cx="675000" cy="675005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854F8E7C-876E-4534-B320-B70F29E93FA8}"/>
              </a:ext>
            </a:extLst>
          </p:cNvPr>
          <p:cNvSpPr/>
          <p:nvPr/>
        </p:nvSpPr>
        <p:spPr bwMode="auto">
          <a:xfrm>
            <a:off x="7782097" y="1652243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A68E29ED-419E-4359-96A3-F4C6B59A1917}"/>
              </a:ext>
            </a:extLst>
          </p:cNvPr>
          <p:cNvSpPr txBox="1"/>
          <p:nvPr/>
        </p:nvSpPr>
        <p:spPr>
          <a:xfrm>
            <a:off x="8444675" y="1915589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DD4F66E1-DE6B-4B37-8F86-C7AB67879BB9}"/>
              </a:ext>
            </a:extLst>
          </p:cNvPr>
          <p:cNvSpPr txBox="1"/>
          <p:nvPr/>
        </p:nvSpPr>
        <p:spPr>
          <a:xfrm>
            <a:off x="8444675" y="1443768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92D23474-4EF5-4645-9B14-6B69C9A8340B}"/>
              </a:ext>
            </a:extLst>
          </p:cNvPr>
          <p:cNvSpPr/>
          <p:nvPr/>
        </p:nvSpPr>
        <p:spPr>
          <a:xfrm>
            <a:off x="7604268" y="3201752"/>
            <a:ext cx="675000" cy="675005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1EBB4215-F39A-45B7-9D32-C185E57D323C}"/>
              </a:ext>
            </a:extLst>
          </p:cNvPr>
          <p:cNvSpPr/>
          <p:nvPr/>
        </p:nvSpPr>
        <p:spPr bwMode="auto">
          <a:xfrm>
            <a:off x="7782097" y="3367160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E903155-F252-4346-BBD2-B80B2EAF8D24}"/>
              </a:ext>
            </a:extLst>
          </p:cNvPr>
          <p:cNvSpPr txBox="1"/>
          <p:nvPr/>
        </p:nvSpPr>
        <p:spPr>
          <a:xfrm>
            <a:off x="8444675" y="3630506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A2EF397-50ED-4657-B1F4-6AAF514B43D7}"/>
              </a:ext>
            </a:extLst>
          </p:cNvPr>
          <p:cNvSpPr txBox="1"/>
          <p:nvPr/>
        </p:nvSpPr>
        <p:spPr>
          <a:xfrm>
            <a:off x="8444675" y="3158685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7CABD2FA-7E36-4705-ADE6-DDC61979067E}"/>
              </a:ext>
            </a:extLst>
          </p:cNvPr>
          <p:cNvSpPr/>
          <p:nvPr/>
        </p:nvSpPr>
        <p:spPr>
          <a:xfrm>
            <a:off x="7604268" y="4916669"/>
            <a:ext cx="675000" cy="675005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1376ECF6-D306-40D8-8414-77BF69C08F69}"/>
              </a:ext>
            </a:extLst>
          </p:cNvPr>
          <p:cNvSpPr/>
          <p:nvPr/>
        </p:nvSpPr>
        <p:spPr bwMode="auto">
          <a:xfrm>
            <a:off x="7782097" y="5082077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26A5EB8-275B-4F9A-BF9E-9D23D7A85B42}"/>
              </a:ext>
            </a:extLst>
          </p:cNvPr>
          <p:cNvSpPr txBox="1"/>
          <p:nvPr/>
        </p:nvSpPr>
        <p:spPr>
          <a:xfrm>
            <a:off x="8444675" y="5345423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B8989140-8A8E-4257-883F-404D887E01D2}"/>
              </a:ext>
            </a:extLst>
          </p:cNvPr>
          <p:cNvSpPr txBox="1"/>
          <p:nvPr/>
        </p:nvSpPr>
        <p:spPr>
          <a:xfrm>
            <a:off x="8444675" y="4873602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2E7C3238-7777-44BA-9D6F-00DF75F8C4B9}"/>
              </a:ext>
            </a:extLst>
          </p:cNvPr>
          <p:cNvCxnSpPr/>
          <p:nvPr/>
        </p:nvCxnSpPr>
        <p:spPr>
          <a:xfrm>
            <a:off x="8544272" y="2888547"/>
            <a:ext cx="297621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86C8877E-236F-4750-A898-01493EA4EB48}"/>
              </a:ext>
            </a:extLst>
          </p:cNvPr>
          <p:cNvCxnSpPr/>
          <p:nvPr/>
        </p:nvCxnSpPr>
        <p:spPr>
          <a:xfrm>
            <a:off x="8544272" y="4614252"/>
            <a:ext cx="297621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椭圆 20">
            <a:extLst>
              <a:ext uri="{FF2B5EF4-FFF2-40B4-BE49-F238E27FC236}">
                <a16:creationId xmlns:a16="http://schemas.microsoft.com/office/drawing/2014/main" id="{9BE0B74F-E1A0-4389-A0CF-651A44C3F5F9}"/>
              </a:ext>
            </a:extLst>
          </p:cNvPr>
          <p:cNvSpPr/>
          <p:nvPr/>
        </p:nvSpPr>
        <p:spPr>
          <a:xfrm>
            <a:off x="663051" y="1486835"/>
            <a:ext cx="675000" cy="67500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623B860-EE70-4348-A701-8639F7913752}"/>
              </a:ext>
            </a:extLst>
          </p:cNvPr>
          <p:cNvSpPr/>
          <p:nvPr/>
        </p:nvSpPr>
        <p:spPr bwMode="auto">
          <a:xfrm>
            <a:off x="840880" y="1652243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E4463BB3-D199-4E0F-8802-BF0E0CF18541}"/>
              </a:ext>
            </a:extLst>
          </p:cNvPr>
          <p:cNvSpPr txBox="1"/>
          <p:nvPr/>
        </p:nvSpPr>
        <p:spPr>
          <a:xfrm>
            <a:off x="1503458" y="1915589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C4D395C-8F83-46FE-BC91-624B377497DE}"/>
              </a:ext>
            </a:extLst>
          </p:cNvPr>
          <p:cNvSpPr txBox="1"/>
          <p:nvPr/>
        </p:nvSpPr>
        <p:spPr>
          <a:xfrm>
            <a:off x="1503458" y="1443768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C63ABD47-75EB-4BA2-9F78-58453AF6CC4D}"/>
              </a:ext>
            </a:extLst>
          </p:cNvPr>
          <p:cNvSpPr/>
          <p:nvPr/>
        </p:nvSpPr>
        <p:spPr>
          <a:xfrm>
            <a:off x="663051" y="3201752"/>
            <a:ext cx="675000" cy="67500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85960834-43BE-49C0-9D9F-3B628F541BD2}"/>
              </a:ext>
            </a:extLst>
          </p:cNvPr>
          <p:cNvSpPr/>
          <p:nvPr/>
        </p:nvSpPr>
        <p:spPr bwMode="auto">
          <a:xfrm>
            <a:off x="840880" y="3367160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7A905D7-E8DB-4230-8911-1328998F3953}"/>
              </a:ext>
            </a:extLst>
          </p:cNvPr>
          <p:cNvSpPr txBox="1"/>
          <p:nvPr/>
        </p:nvSpPr>
        <p:spPr>
          <a:xfrm>
            <a:off x="1503458" y="3630506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72400084-0B93-4DD1-B015-6A14D0C78A2D}"/>
              </a:ext>
            </a:extLst>
          </p:cNvPr>
          <p:cNvSpPr txBox="1"/>
          <p:nvPr/>
        </p:nvSpPr>
        <p:spPr>
          <a:xfrm>
            <a:off x="1503458" y="3158685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095F1FCF-8F7C-44A2-9281-E165A5538247}"/>
              </a:ext>
            </a:extLst>
          </p:cNvPr>
          <p:cNvSpPr/>
          <p:nvPr/>
        </p:nvSpPr>
        <p:spPr>
          <a:xfrm>
            <a:off x="663051" y="4916669"/>
            <a:ext cx="675000" cy="675005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73062ED8-115C-4757-ABCB-772C9E1CAF56}"/>
              </a:ext>
            </a:extLst>
          </p:cNvPr>
          <p:cNvSpPr/>
          <p:nvPr/>
        </p:nvSpPr>
        <p:spPr bwMode="auto">
          <a:xfrm>
            <a:off x="840880" y="5082077"/>
            <a:ext cx="319342" cy="344185"/>
          </a:xfrm>
          <a:custGeom>
            <a:avLst/>
            <a:gdLst>
              <a:gd name="T0" fmla="*/ 7606 w 7612"/>
              <a:gd name="T1" fmla="*/ 2100 h 8216"/>
              <a:gd name="T2" fmla="*/ 7603 w 7612"/>
              <a:gd name="T3" fmla="*/ 2014 h 8216"/>
              <a:gd name="T4" fmla="*/ 7429 w 7612"/>
              <a:gd name="T5" fmla="*/ 1635 h 8216"/>
              <a:gd name="T6" fmla="*/ 7036 w 7612"/>
              <a:gd name="T7" fmla="*/ 1494 h 8216"/>
              <a:gd name="T8" fmla="*/ 6866 w 7612"/>
              <a:gd name="T9" fmla="*/ 1499 h 8216"/>
              <a:gd name="T10" fmla="*/ 4204 w 7612"/>
              <a:gd name="T11" fmla="*/ 224 h 8216"/>
              <a:gd name="T12" fmla="*/ 3408 w 7612"/>
              <a:gd name="T13" fmla="*/ 224 h 8216"/>
              <a:gd name="T14" fmla="*/ 746 w 7612"/>
              <a:gd name="T15" fmla="*/ 1499 h 8216"/>
              <a:gd name="T16" fmla="*/ 575 w 7612"/>
              <a:gd name="T17" fmla="*/ 1494 h 8216"/>
              <a:gd name="T18" fmla="*/ 182 w 7612"/>
              <a:gd name="T19" fmla="*/ 1635 h 8216"/>
              <a:gd name="T20" fmla="*/ 9 w 7612"/>
              <a:gd name="T21" fmla="*/ 2014 h 8216"/>
              <a:gd name="T22" fmla="*/ 6 w 7612"/>
              <a:gd name="T23" fmla="*/ 2100 h 8216"/>
              <a:gd name="T24" fmla="*/ 0 w 7612"/>
              <a:gd name="T25" fmla="*/ 2320 h 8216"/>
              <a:gd name="T26" fmla="*/ 3589 w 7612"/>
              <a:gd name="T27" fmla="*/ 8170 h 8216"/>
              <a:gd name="T28" fmla="*/ 3806 w 7612"/>
              <a:gd name="T29" fmla="*/ 8216 h 8216"/>
              <a:gd name="T30" fmla="*/ 4023 w 7612"/>
              <a:gd name="T31" fmla="*/ 8170 h 8216"/>
              <a:gd name="T32" fmla="*/ 7612 w 7612"/>
              <a:gd name="T33" fmla="*/ 2321 h 8216"/>
              <a:gd name="T34" fmla="*/ 7606 w 7612"/>
              <a:gd name="T35" fmla="*/ 2100 h 8216"/>
              <a:gd name="T36" fmla="*/ 5171 w 7612"/>
              <a:gd name="T37" fmla="*/ 4847 h 8216"/>
              <a:gd name="T38" fmla="*/ 4137 w 7612"/>
              <a:gd name="T39" fmla="*/ 5910 h 8216"/>
              <a:gd name="T40" fmla="*/ 4137 w 7612"/>
              <a:gd name="T41" fmla="*/ 6156 h 8216"/>
              <a:gd name="T42" fmla="*/ 3806 w 7612"/>
              <a:gd name="T43" fmla="*/ 6488 h 8216"/>
              <a:gd name="T44" fmla="*/ 3475 w 7612"/>
              <a:gd name="T45" fmla="*/ 6156 h 8216"/>
              <a:gd name="T46" fmla="*/ 3475 w 7612"/>
              <a:gd name="T47" fmla="*/ 5883 h 8216"/>
              <a:gd name="T48" fmla="*/ 2585 w 7612"/>
              <a:gd name="T49" fmla="*/ 5508 h 8216"/>
              <a:gd name="T50" fmla="*/ 2441 w 7612"/>
              <a:gd name="T51" fmla="*/ 5220 h 8216"/>
              <a:gd name="T52" fmla="*/ 2799 w 7612"/>
              <a:gd name="T53" fmla="*/ 4867 h 8216"/>
              <a:gd name="T54" fmla="*/ 3018 w 7612"/>
              <a:gd name="T55" fmla="*/ 4937 h 8216"/>
              <a:gd name="T56" fmla="*/ 3908 w 7612"/>
              <a:gd name="T57" fmla="*/ 5250 h 8216"/>
              <a:gd name="T58" fmla="*/ 4410 w 7612"/>
              <a:gd name="T59" fmla="*/ 4922 h 8216"/>
              <a:gd name="T60" fmla="*/ 4410 w 7612"/>
              <a:gd name="T61" fmla="*/ 4912 h 8216"/>
              <a:gd name="T62" fmla="*/ 3709 w 7612"/>
              <a:gd name="T63" fmla="*/ 4469 h 8216"/>
              <a:gd name="T64" fmla="*/ 2555 w 7612"/>
              <a:gd name="T65" fmla="*/ 3404 h 8216"/>
              <a:gd name="T66" fmla="*/ 2555 w 7612"/>
              <a:gd name="T67" fmla="*/ 3395 h 8216"/>
              <a:gd name="T68" fmla="*/ 3474 w 7612"/>
              <a:gd name="T69" fmla="*/ 2374 h 8216"/>
              <a:gd name="T70" fmla="*/ 3474 w 7612"/>
              <a:gd name="T71" fmla="*/ 2115 h 8216"/>
              <a:gd name="T72" fmla="*/ 3806 w 7612"/>
              <a:gd name="T73" fmla="*/ 1784 h 8216"/>
              <a:gd name="T74" fmla="*/ 4137 w 7612"/>
              <a:gd name="T75" fmla="*/ 2115 h 8216"/>
              <a:gd name="T76" fmla="*/ 4137 w 7612"/>
              <a:gd name="T77" fmla="*/ 2377 h 8216"/>
              <a:gd name="T78" fmla="*/ 4877 w 7612"/>
              <a:gd name="T79" fmla="*/ 2654 h 8216"/>
              <a:gd name="T80" fmla="*/ 5047 w 7612"/>
              <a:gd name="T81" fmla="*/ 2957 h 8216"/>
              <a:gd name="T82" fmla="*/ 4689 w 7612"/>
              <a:gd name="T83" fmla="*/ 3310 h 8216"/>
              <a:gd name="T84" fmla="*/ 4495 w 7612"/>
              <a:gd name="T85" fmla="*/ 3255 h 8216"/>
              <a:gd name="T86" fmla="*/ 3763 w 7612"/>
              <a:gd name="T87" fmla="*/ 3021 h 8216"/>
              <a:gd name="T88" fmla="*/ 3315 w 7612"/>
              <a:gd name="T89" fmla="*/ 3325 h 8216"/>
              <a:gd name="T90" fmla="*/ 3315 w 7612"/>
              <a:gd name="T91" fmla="*/ 3335 h 8216"/>
              <a:gd name="T92" fmla="*/ 4067 w 7612"/>
              <a:gd name="T93" fmla="*/ 3792 h 8216"/>
              <a:gd name="T94" fmla="*/ 5171 w 7612"/>
              <a:gd name="T95" fmla="*/ 4836 h 8216"/>
              <a:gd name="T96" fmla="*/ 5171 w 7612"/>
              <a:gd name="T97" fmla="*/ 4847 h 8216"/>
              <a:gd name="T98" fmla="*/ 5171 w 7612"/>
              <a:gd name="T99" fmla="*/ 4847 h 8216"/>
              <a:gd name="T100" fmla="*/ 5171 w 7612"/>
              <a:gd name="T101" fmla="*/ 4847 h 8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612" h="8216">
                <a:moveTo>
                  <a:pt x="7606" y="2100"/>
                </a:moveTo>
                <a:lnTo>
                  <a:pt x="7603" y="2014"/>
                </a:lnTo>
                <a:cubicBezTo>
                  <a:pt x="7599" y="1870"/>
                  <a:pt x="7536" y="1733"/>
                  <a:pt x="7429" y="1635"/>
                </a:cubicBezTo>
                <a:cubicBezTo>
                  <a:pt x="7323" y="1537"/>
                  <a:pt x="7183" y="1486"/>
                  <a:pt x="7036" y="1494"/>
                </a:cubicBezTo>
                <a:cubicBezTo>
                  <a:pt x="6980" y="1497"/>
                  <a:pt x="6923" y="1499"/>
                  <a:pt x="6866" y="1499"/>
                </a:cubicBezTo>
                <a:cubicBezTo>
                  <a:pt x="5898" y="1499"/>
                  <a:pt x="4953" y="1046"/>
                  <a:pt x="4204" y="224"/>
                </a:cubicBezTo>
                <a:cubicBezTo>
                  <a:pt x="4000" y="0"/>
                  <a:pt x="3612" y="0"/>
                  <a:pt x="3408" y="224"/>
                </a:cubicBezTo>
                <a:cubicBezTo>
                  <a:pt x="2660" y="1046"/>
                  <a:pt x="1714" y="1499"/>
                  <a:pt x="746" y="1499"/>
                </a:cubicBezTo>
                <a:cubicBezTo>
                  <a:pt x="688" y="1499"/>
                  <a:pt x="631" y="1497"/>
                  <a:pt x="575" y="1494"/>
                </a:cubicBezTo>
                <a:cubicBezTo>
                  <a:pt x="431" y="1486"/>
                  <a:pt x="289" y="1537"/>
                  <a:pt x="182" y="1635"/>
                </a:cubicBezTo>
                <a:cubicBezTo>
                  <a:pt x="76" y="1733"/>
                  <a:pt x="14" y="1870"/>
                  <a:pt x="9" y="2014"/>
                </a:cubicBezTo>
                <a:lnTo>
                  <a:pt x="6" y="2100"/>
                </a:lnTo>
                <a:cubicBezTo>
                  <a:pt x="3" y="2173"/>
                  <a:pt x="0" y="2246"/>
                  <a:pt x="0" y="2320"/>
                </a:cubicBezTo>
                <a:cubicBezTo>
                  <a:pt x="0" y="5112"/>
                  <a:pt x="1241" y="7135"/>
                  <a:pt x="3589" y="8170"/>
                </a:cubicBezTo>
                <a:cubicBezTo>
                  <a:pt x="3658" y="8201"/>
                  <a:pt x="3732" y="8216"/>
                  <a:pt x="3806" y="8216"/>
                </a:cubicBezTo>
                <a:cubicBezTo>
                  <a:pt x="3880" y="8216"/>
                  <a:pt x="3954" y="8201"/>
                  <a:pt x="4023" y="8170"/>
                </a:cubicBezTo>
                <a:cubicBezTo>
                  <a:pt x="6371" y="7135"/>
                  <a:pt x="7612" y="5112"/>
                  <a:pt x="7612" y="2321"/>
                </a:cubicBezTo>
                <a:cubicBezTo>
                  <a:pt x="7612" y="2246"/>
                  <a:pt x="7609" y="2173"/>
                  <a:pt x="7606" y="2100"/>
                </a:cubicBezTo>
                <a:close/>
                <a:moveTo>
                  <a:pt x="5171" y="4847"/>
                </a:moveTo>
                <a:cubicBezTo>
                  <a:pt x="5171" y="5460"/>
                  <a:pt x="4755" y="5834"/>
                  <a:pt x="4137" y="5910"/>
                </a:cubicBezTo>
                <a:lnTo>
                  <a:pt x="4137" y="6156"/>
                </a:lnTo>
                <a:cubicBezTo>
                  <a:pt x="4137" y="6339"/>
                  <a:pt x="3989" y="6488"/>
                  <a:pt x="3806" y="6488"/>
                </a:cubicBezTo>
                <a:cubicBezTo>
                  <a:pt x="3623" y="6488"/>
                  <a:pt x="3475" y="6339"/>
                  <a:pt x="3475" y="6156"/>
                </a:cubicBezTo>
                <a:lnTo>
                  <a:pt x="3475" y="5883"/>
                </a:lnTo>
                <a:cubicBezTo>
                  <a:pt x="3161" y="5824"/>
                  <a:pt x="2855" y="5702"/>
                  <a:pt x="2585" y="5508"/>
                </a:cubicBezTo>
                <a:cubicBezTo>
                  <a:pt x="2501" y="5449"/>
                  <a:pt x="2441" y="5339"/>
                  <a:pt x="2441" y="5220"/>
                </a:cubicBezTo>
                <a:cubicBezTo>
                  <a:pt x="2441" y="5021"/>
                  <a:pt x="2600" y="4867"/>
                  <a:pt x="2799" y="4867"/>
                </a:cubicBezTo>
                <a:cubicBezTo>
                  <a:pt x="2898" y="4867"/>
                  <a:pt x="2968" y="4902"/>
                  <a:pt x="3018" y="4937"/>
                </a:cubicBezTo>
                <a:cubicBezTo>
                  <a:pt x="3281" y="5131"/>
                  <a:pt x="3570" y="5250"/>
                  <a:pt x="3908" y="5250"/>
                </a:cubicBezTo>
                <a:cubicBezTo>
                  <a:pt x="4221" y="5250"/>
                  <a:pt x="4410" y="5126"/>
                  <a:pt x="4410" y="4922"/>
                </a:cubicBezTo>
                <a:lnTo>
                  <a:pt x="4410" y="4912"/>
                </a:lnTo>
                <a:cubicBezTo>
                  <a:pt x="4410" y="4718"/>
                  <a:pt x="4291" y="4619"/>
                  <a:pt x="3709" y="4469"/>
                </a:cubicBezTo>
                <a:cubicBezTo>
                  <a:pt x="3008" y="4290"/>
                  <a:pt x="2555" y="4096"/>
                  <a:pt x="2555" y="3404"/>
                </a:cubicBezTo>
                <a:lnTo>
                  <a:pt x="2555" y="3395"/>
                </a:lnTo>
                <a:cubicBezTo>
                  <a:pt x="2555" y="2856"/>
                  <a:pt x="2925" y="2476"/>
                  <a:pt x="3474" y="2374"/>
                </a:cubicBezTo>
                <a:lnTo>
                  <a:pt x="3474" y="2115"/>
                </a:lnTo>
                <a:cubicBezTo>
                  <a:pt x="3474" y="1932"/>
                  <a:pt x="3623" y="1784"/>
                  <a:pt x="3806" y="1784"/>
                </a:cubicBezTo>
                <a:cubicBezTo>
                  <a:pt x="3989" y="1784"/>
                  <a:pt x="4137" y="1932"/>
                  <a:pt x="4137" y="2115"/>
                </a:cubicBezTo>
                <a:lnTo>
                  <a:pt x="4137" y="2377"/>
                </a:lnTo>
                <a:cubicBezTo>
                  <a:pt x="4410" y="2422"/>
                  <a:pt x="4658" y="2514"/>
                  <a:pt x="4877" y="2654"/>
                </a:cubicBezTo>
                <a:cubicBezTo>
                  <a:pt x="4962" y="2703"/>
                  <a:pt x="5047" y="2808"/>
                  <a:pt x="5047" y="2957"/>
                </a:cubicBezTo>
                <a:cubicBezTo>
                  <a:pt x="5047" y="3156"/>
                  <a:pt x="4887" y="3310"/>
                  <a:pt x="4689" y="3310"/>
                </a:cubicBezTo>
                <a:cubicBezTo>
                  <a:pt x="4613" y="3310"/>
                  <a:pt x="4554" y="3290"/>
                  <a:pt x="4495" y="3255"/>
                </a:cubicBezTo>
                <a:cubicBezTo>
                  <a:pt x="4241" y="3106"/>
                  <a:pt x="4002" y="3021"/>
                  <a:pt x="3763" y="3021"/>
                </a:cubicBezTo>
                <a:cubicBezTo>
                  <a:pt x="3470" y="3021"/>
                  <a:pt x="3315" y="3156"/>
                  <a:pt x="3315" y="3325"/>
                </a:cubicBezTo>
                <a:lnTo>
                  <a:pt x="3315" y="3335"/>
                </a:lnTo>
                <a:cubicBezTo>
                  <a:pt x="3315" y="3563"/>
                  <a:pt x="3465" y="3638"/>
                  <a:pt x="4067" y="3792"/>
                </a:cubicBezTo>
                <a:cubicBezTo>
                  <a:pt x="4773" y="3976"/>
                  <a:pt x="5171" y="4230"/>
                  <a:pt x="5171" y="4836"/>
                </a:cubicBezTo>
                <a:lnTo>
                  <a:pt x="5171" y="4847"/>
                </a:lnTo>
                <a:lnTo>
                  <a:pt x="5171" y="4847"/>
                </a:lnTo>
                <a:lnTo>
                  <a:pt x="5171" y="48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75B0A78A-A76E-4330-80ED-534B66AD3E2D}"/>
              </a:ext>
            </a:extLst>
          </p:cNvPr>
          <p:cNvSpPr txBox="1"/>
          <p:nvPr/>
        </p:nvSpPr>
        <p:spPr>
          <a:xfrm>
            <a:off x="1503458" y="5345423"/>
            <a:ext cx="3075813" cy="81057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900" dirty="0">
                <a:cs typeface="+mn-ea"/>
                <a:sym typeface="+mn-lt"/>
              </a:rPr>
              <a:t>…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0BC871BD-4B58-417D-9AB2-D16AB224A608}"/>
              </a:ext>
            </a:extLst>
          </p:cNvPr>
          <p:cNvSpPr txBox="1"/>
          <p:nvPr/>
        </p:nvSpPr>
        <p:spPr>
          <a:xfrm>
            <a:off x="1503458" y="4873602"/>
            <a:ext cx="3075813" cy="471820"/>
          </a:xfrm>
          <a:prstGeom prst="rect">
            <a:avLst/>
          </a:prstGeom>
          <a:noFill/>
        </p:spPr>
        <p:txBody>
          <a:bodyPr wrap="square" anchor="ctr">
            <a:normAutofit/>
          </a:bodyPr>
          <a:lstStyle/>
          <a:p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59F270E0-EB2E-473E-90BA-F5A64F6156F8}"/>
              </a:ext>
            </a:extLst>
          </p:cNvPr>
          <p:cNvCxnSpPr/>
          <p:nvPr/>
        </p:nvCxnSpPr>
        <p:spPr>
          <a:xfrm>
            <a:off x="1603055" y="2888547"/>
            <a:ext cx="297621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890EA295-1C48-4B29-B7AE-F2D281CA9187}"/>
              </a:ext>
            </a:extLst>
          </p:cNvPr>
          <p:cNvCxnSpPr/>
          <p:nvPr/>
        </p:nvCxnSpPr>
        <p:spPr>
          <a:xfrm>
            <a:off x="1603055" y="4614252"/>
            <a:ext cx="297621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9971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4ACE881-E19F-4260-942A-430B45458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834C6E9-52CE-4E08-AEDC-CE4AF614D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177DB9-F054-4458-998A-52B69FBD8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95DACA01-873A-4738-AF7D-68770F4760B2}"/>
              </a:ext>
            </a:extLst>
          </p:cNvPr>
          <p:cNvCxnSpPr>
            <a:cxnSpLocks/>
          </p:cNvCxnSpPr>
          <p:nvPr/>
        </p:nvCxnSpPr>
        <p:spPr>
          <a:xfrm>
            <a:off x="669925" y="4452621"/>
            <a:ext cx="720103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组合 6">
            <a:extLst>
              <a:ext uri="{FF2B5EF4-FFF2-40B4-BE49-F238E27FC236}">
                <a16:creationId xmlns:a16="http://schemas.microsoft.com/office/drawing/2014/main" id="{A3B534C9-61AA-4447-A171-D6C52C856FB4}"/>
              </a:ext>
            </a:extLst>
          </p:cNvPr>
          <p:cNvGrpSpPr/>
          <p:nvPr/>
        </p:nvGrpSpPr>
        <p:grpSpPr>
          <a:xfrm>
            <a:off x="6065607" y="1809000"/>
            <a:ext cx="5588505" cy="4823734"/>
            <a:chOff x="6065607" y="1809000"/>
            <a:chExt cx="5588505" cy="4823734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7B1D67A9-5EAF-4D88-99D3-9BD494D542BC}"/>
                </a:ext>
              </a:extLst>
            </p:cNvPr>
            <p:cNvSpPr/>
            <p:nvPr/>
          </p:nvSpPr>
          <p:spPr bwMode="auto">
            <a:xfrm>
              <a:off x="6065607" y="3320928"/>
              <a:ext cx="5588505" cy="331180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  <a:scene3d>
              <a:camera prst="isometricOffAxis1Top">
                <a:rot lat="17411170" lon="18596411" rev="2947935"/>
              </a:camera>
              <a:lightRig rig="threePt" dir="t"/>
            </a:scene3d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0BB1DC03-B044-473F-9916-6115147BB2A9}"/>
                </a:ext>
              </a:extLst>
            </p:cNvPr>
            <p:cNvSpPr/>
            <p:nvPr/>
          </p:nvSpPr>
          <p:spPr bwMode="auto">
            <a:xfrm>
              <a:off x="6221233" y="3414284"/>
              <a:ext cx="5277250" cy="312735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isometricOffAxis1Top">
                <a:rot lat="17411170" lon="18596411" rev="2947935"/>
              </a:camera>
              <a:lightRig rig="threePt" dir="t"/>
            </a:scene3d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71DAB7AB-9B32-4925-B6DD-679DFAA20D40}"/>
                </a:ext>
              </a:extLst>
            </p:cNvPr>
            <p:cNvSpPr/>
            <p:nvPr/>
          </p:nvSpPr>
          <p:spPr bwMode="auto">
            <a:xfrm>
              <a:off x="6667343" y="3677523"/>
              <a:ext cx="4385034" cy="259861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  <a:scene3d>
              <a:camera prst="isometricOffAxis1Top">
                <a:rot lat="17411170" lon="18596411" rev="2947935"/>
              </a:camera>
              <a:lightRig rig="threePt" dir="t"/>
            </a:scene3d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79C13262-60DC-4E4C-885D-4B32B90BB561}"/>
                </a:ext>
              </a:extLst>
            </p:cNvPr>
            <p:cNvSpPr/>
            <p:nvPr/>
          </p:nvSpPr>
          <p:spPr bwMode="auto">
            <a:xfrm>
              <a:off x="7266591" y="4033774"/>
              <a:ext cx="3186536" cy="1888374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  <a:scene3d>
              <a:camera prst="isometricOffAxis1Top">
                <a:rot lat="17411170" lon="18596411" rev="2947935"/>
              </a:camera>
              <a:lightRig rig="threePt" dir="t"/>
            </a:scene3d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2D74EF0D-85FF-4639-861C-61792F4E4F76}"/>
                </a:ext>
              </a:extLst>
            </p:cNvPr>
            <p:cNvSpPr/>
            <p:nvPr/>
          </p:nvSpPr>
          <p:spPr bwMode="auto">
            <a:xfrm>
              <a:off x="8160895" y="4562618"/>
              <a:ext cx="1397928" cy="82842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  <a:scene3d>
              <a:camera prst="isometricOffAxis1Top">
                <a:rot lat="17411170" lon="18596411" rev="2947935"/>
              </a:camera>
              <a:lightRig rig="threePt" dir="t"/>
            </a:scene3d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等腰三角形 20">
              <a:extLst>
                <a:ext uri="{FF2B5EF4-FFF2-40B4-BE49-F238E27FC236}">
                  <a16:creationId xmlns:a16="http://schemas.microsoft.com/office/drawing/2014/main" id="{8401BB31-0CC4-4794-B434-DA245C34F510}"/>
                </a:ext>
              </a:extLst>
            </p:cNvPr>
            <p:cNvSpPr/>
            <p:nvPr/>
          </p:nvSpPr>
          <p:spPr bwMode="auto">
            <a:xfrm flipV="1">
              <a:off x="8074419" y="3965083"/>
              <a:ext cx="1570880" cy="103476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77"/>
              <a:endParaRPr sz="180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3AA82376-25B6-4F5F-B8F3-E73798BD0E67}"/>
                </a:ext>
              </a:extLst>
            </p:cNvPr>
            <p:cNvSpPr/>
            <p:nvPr/>
          </p:nvSpPr>
          <p:spPr bwMode="auto">
            <a:xfrm>
              <a:off x="8086047" y="3832023"/>
              <a:ext cx="1572171" cy="133059"/>
            </a:xfrm>
            <a:custGeom>
              <a:avLst/>
              <a:gdLst>
                <a:gd name="connsiteX0" fmla="*/ 0 w 1640851"/>
                <a:gd name="connsiteY0" fmla="*/ 0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0 w 1640851"/>
                <a:gd name="connsiteY4" fmla="*/ 0 h 149806"/>
                <a:gd name="connsiteX0" fmla="*/ 144379 w 1640851"/>
                <a:gd name="connsiteY0" fmla="*/ 12032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144379 w 1640851"/>
                <a:gd name="connsiteY4" fmla="*/ 12032 h 149806"/>
                <a:gd name="connsiteX0" fmla="*/ 144379 w 1640851"/>
                <a:gd name="connsiteY0" fmla="*/ 24064 h 161838"/>
                <a:gd name="connsiteX1" fmla="*/ 1508504 w 1640851"/>
                <a:gd name="connsiteY1" fmla="*/ 0 h 161838"/>
                <a:gd name="connsiteX2" fmla="*/ 1640851 w 1640851"/>
                <a:gd name="connsiteY2" fmla="*/ 161838 h 161838"/>
                <a:gd name="connsiteX3" fmla="*/ 0 w 1640851"/>
                <a:gd name="connsiteY3" fmla="*/ 161838 h 161838"/>
                <a:gd name="connsiteX4" fmla="*/ 144379 w 1640851"/>
                <a:gd name="connsiteY4" fmla="*/ 24064 h 161838"/>
                <a:gd name="connsiteX0" fmla="*/ 144379 w 1640851"/>
                <a:gd name="connsiteY0" fmla="*/ 0 h 137774"/>
                <a:gd name="connsiteX1" fmla="*/ 1544599 w 1640851"/>
                <a:gd name="connsiteY1" fmla="*/ 0 h 137774"/>
                <a:gd name="connsiteX2" fmla="*/ 1640851 w 1640851"/>
                <a:gd name="connsiteY2" fmla="*/ 137774 h 137774"/>
                <a:gd name="connsiteX3" fmla="*/ 0 w 1640851"/>
                <a:gd name="connsiteY3" fmla="*/ 137774 h 137774"/>
                <a:gd name="connsiteX4" fmla="*/ 144379 w 1640851"/>
                <a:gd name="connsiteY4" fmla="*/ 0 h 13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851" h="137774">
                  <a:moveTo>
                    <a:pt x="144379" y="0"/>
                  </a:moveTo>
                  <a:lnTo>
                    <a:pt x="1544599" y="0"/>
                  </a:lnTo>
                  <a:lnTo>
                    <a:pt x="1640851" y="137774"/>
                  </a:lnTo>
                  <a:lnTo>
                    <a:pt x="0" y="137774"/>
                  </a:lnTo>
                  <a:lnTo>
                    <a:pt x="1443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EDDFA45-CE2B-4388-B9FE-030D210A5B1E}"/>
                </a:ext>
              </a:extLst>
            </p:cNvPr>
            <p:cNvSpPr/>
            <p:nvPr/>
          </p:nvSpPr>
          <p:spPr bwMode="auto">
            <a:xfrm>
              <a:off x="7385868" y="2975532"/>
              <a:ext cx="2933771" cy="899121"/>
            </a:xfrm>
            <a:custGeom>
              <a:avLst/>
              <a:gdLst/>
              <a:ahLst/>
              <a:cxnLst/>
              <a:rect l="l" t="t" r="r" b="b"/>
              <a:pathLst>
                <a:path w="3061735" h="937284">
                  <a:moveTo>
                    <a:pt x="0" y="0"/>
                  </a:moveTo>
                  <a:lnTo>
                    <a:pt x="3061735" y="0"/>
                  </a:lnTo>
                  <a:lnTo>
                    <a:pt x="2493758" y="937284"/>
                  </a:lnTo>
                  <a:lnTo>
                    <a:pt x="567977" y="93728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E40784A-17E7-4C58-A1D6-CC34DA00DE11}"/>
                </a:ext>
              </a:extLst>
            </p:cNvPr>
            <p:cNvSpPr/>
            <p:nvPr/>
          </p:nvSpPr>
          <p:spPr bwMode="auto">
            <a:xfrm>
              <a:off x="6755451" y="1940768"/>
              <a:ext cx="4186856" cy="897830"/>
            </a:xfrm>
            <a:custGeom>
              <a:avLst/>
              <a:gdLst/>
              <a:ahLst/>
              <a:cxnLst/>
              <a:rect l="l" t="t" r="r" b="b"/>
              <a:pathLst>
                <a:path w="4370803" h="937284">
                  <a:moveTo>
                    <a:pt x="0" y="0"/>
                  </a:moveTo>
                  <a:lnTo>
                    <a:pt x="4370803" y="0"/>
                  </a:lnTo>
                  <a:lnTo>
                    <a:pt x="3802825" y="937284"/>
                  </a:lnTo>
                  <a:lnTo>
                    <a:pt x="567978" y="93728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9F5A01B9-AA9A-491D-A32F-D46862DA930D}"/>
                </a:ext>
              </a:extLst>
            </p:cNvPr>
            <p:cNvSpPr/>
            <p:nvPr/>
          </p:nvSpPr>
          <p:spPr bwMode="auto">
            <a:xfrm>
              <a:off x="7388452" y="2843766"/>
              <a:ext cx="2933771" cy="131768"/>
            </a:xfrm>
            <a:custGeom>
              <a:avLst/>
              <a:gdLst>
                <a:gd name="connsiteX0" fmla="*/ 0 w 1640851"/>
                <a:gd name="connsiteY0" fmla="*/ 0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0 w 1640851"/>
                <a:gd name="connsiteY4" fmla="*/ 0 h 149806"/>
                <a:gd name="connsiteX0" fmla="*/ 144379 w 1640851"/>
                <a:gd name="connsiteY0" fmla="*/ 12032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144379 w 1640851"/>
                <a:gd name="connsiteY4" fmla="*/ 12032 h 149806"/>
                <a:gd name="connsiteX0" fmla="*/ 144379 w 1640851"/>
                <a:gd name="connsiteY0" fmla="*/ 24064 h 161838"/>
                <a:gd name="connsiteX1" fmla="*/ 1508504 w 1640851"/>
                <a:gd name="connsiteY1" fmla="*/ 0 h 161838"/>
                <a:gd name="connsiteX2" fmla="*/ 1640851 w 1640851"/>
                <a:gd name="connsiteY2" fmla="*/ 161838 h 161838"/>
                <a:gd name="connsiteX3" fmla="*/ 0 w 1640851"/>
                <a:gd name="connsiteY3" fmla="*/ 161838 h 161838"/>
                <a:gd name="connsiteX4" fmla="*/ 144379 w 1640851"/>
                <a:gd name="connsiteY4" fmla="*/ 24064 h 161838"/>
                <a:gd name="connsiteX0" fmla="*/ 144379 w 1640851"/>
                <a:gd name="connsiteY0" fmla="*/ 0 h 137774"/>
                <a:gd name="connsiteX1" fmla="*/ 1544599 w 1640851"/>
                <a:gd name="connsiteY1" fmla="*/ 0 h 137774"/>
                <a:gd name="connsiteX2" fmla="*/ 1640851 w 1640851"/>
                <a:gd name="connsiteY2" fmla="*/ 137774 h 137774"/>
                <a:gd name="connsiteX3" fmla="*/ 0 w 1640851"/>
                <a:gd name="connsiteY3" fmla="*/ 137774 h 137774"/>
                <a:gd name="connsiteX4" fmla="*/ 144379 w 1640851"/>
                <a:gd name="connsiteY4" fmla="*/ 0 h 13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851" h="137774">
                  <a:moveTo>
                    <a:pt x="144379" y="0"/>
                  </a:moveTo>
                  <a:lnTo>
                    <a:pt x="1544599" y="0"/>
                  </a:lnTo>
                  <a:lnTo>
                    <a:pt x="1640851" y="137774"/>
                  </a:lnTo>
                  <a:lnTo>
                    <a:pt x="0" y="137774"/>
                  </a:lnTo>
                  <a:lnTo>
                    <a:pt x="1443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7569C25B-AE93-4128-B034-15945EBBB007}"/>
                </a:ext>
              </a:extLst>
            </p:cNvPr>
            <p:cNvSpPr/>
            <p:nvPr/>
          </p:nvSpPr>
          <p:spPr bwMode="auto">
            <a:xfrm>
              <a:off x="6755451" y="1809000"/>
              <a:ext cx="4186856" cy="131768"/>
            </a:xfrm>
            <a:custGeom>
              <a:avLst/>
              <a:gdLst>
                <a:gd name="connsiteX0" fmla="*/ 0 w 1640851"/>
                <a:gd name="connsiteY0" fmla="*/ 0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0 w 1640851"/>
                <a:gd name="connsiteY4" fmla="*/ 0 h 149806"/>
                <a:gd name="connsiteX0" fmla="*/ 144379 w 1640851"/>
                <a:gd name="connsiteY0" fmla="*/ 12032 h 149806"/>
                <a:gd name="connsiteX1" fmla="*/ 1640851 w 1640851"/>
                <a:gd name="connsiteY1" fmla="*/ 0 h 149806"/>
                <a:gd name="connsiteX2" fmla="*/ 1640851 w 1640851"/>
                <a:gd name="connsiteY2" fmla="*/ 149806 h 149806"/>
                <a:gd name="connsiteX3" fmla="*/ 0 w 1640851"/>
                <a:gd name="connsiteY3" fmla="*/ 149806 h 149806"/>
                <a:gd name="connsiteX4" fmla="*/ 144379 w 1640851"/>
                <a:gd name="connsiteY4" fmla="*/ 12032 h 149806"/>
                <a:gd name="connsiteX0" fmla="*/ 144379 w 1640851"/>
                <a:gd name="connsiteY0" fmla="*/ 24064 h 161838"/>
                <a:gd name="connsiteX1" fmla="*/ 1508504 w 1640851"/>
                <a:gd name="connsiteY1" fmla="*/ 0 h 161838"/>
                <a:gd name="connsiteX2" fmla="*/ 1640851 w 1640851"/>
                <a:gd name="connsiteY2" fmla="*/ 161838 h 161838"/>
                <a:gd name="connsiteX3" fmla="*/ 0 w 1640851"/>
                <a:gd name="connsiteY3" fmla="*/ 161838 h 161838"/>
                <a:gd name="connsiteX4" fmla="*/ 144379 w 1640851"/>
                <a:gd name="connsiteY4" fmla="*/ 24064 h 161838"/>
                <a:gd name="connsiteX0" fmla="*/ 144379 w 1640851"/>
                <a:gd name="connsiteY0" fmla="*/ 0 h 137774"/>
                <a:gd name="connsiteX1" fmla="*/ 1544599 w 1640851"/>
                <a:gd name="connsiteY1" fmla="*/ 0 h 137774"/>
                <a:gd name="connsiteX2" fmla="*/ 1640851 w 1640851"/>
                <a:gd name="connsiteY2" fmla="*/ 137774 h 137774"/>
                <a:gd name="connsiteX3" fmla="*/ 0 w 1640851"/>
                <a:gd name="connsiteY3" fmla="*/ 137774 h 137774"/>
                <a:gd name="connsiteX4" fmla="*/ 144379 w 1640851"/>
                <a:gd name="connsiteY4" fmla="*/ 0 h 137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851" h="137774">
                  <a:moveTo>
                    <a:pt x="144379" y="0"/>
                  </a:moveTo>
                  <a:lnTo>
                    <a:pt x="1544599" y="0"/>
                  </a:lnTo>
                  <a:lnTo>
                    <a:pt x="1640851" y="137774"/>
                  </a:lnTo>
                  <a:lnTo>
                    <a:pt x="0" y="137774"/>
                  </a:lnTo>
                  <a:lnTo>
                    <a:pt x="1443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E3C7A8BA-EC14-464F-A5DB-D7341978FFE8}"/>
                </a:ext>
              </a:extLst>
            </p:cNvPr>
            <p:cNvSpPr txBox="1"/>
            <p:nvPr/>
          </p:nvSpPr>
          <p:spPr>
            <a:xfrm>
              <a:off x="8258178" y="2112483"/>
              <a:ext cx="1227912" cy="55440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A48802BA-B30E-43E5-8F4F-BDDD74E54E51}"/>
                </a:ext>
              </a:extLst>
            </p:cNvPr>
            <p:cNvSpPr txBox="1"/>
            <p:nvPr/>
          </p:nvSpPr>
          <p:spPr>
            <a:xfrm>
              <a:off x="8258178" y="3149213"/>
              <a:ext cx="1227912" cy="55440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65B5B9D1-7540-47A3-BF80-5CEEB95E886C}"/>
                </a:ext>
              </a:extLst>
            </p:cNvPr>
            <p:cNvSpPr txBox="1"/>
            <p:nvPr/>
          </p:nvSpPr>
          <p:spPr>
            <a:xfrm>
              <a:off x="8258178" y="4033276"/>
              <a:ext cx="1227912" cy="55440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BB22C6B-02C0-47B8-A6BE-A34CE58B0622}"/>
                </a:ext>
              </a:extLst>
            </p:cNvPr>
            <p:cNvSpPr/>
            <p:nvPr/>
          </p:nvSpPr>
          <p:spPr>
            <a:xfrm>
              <a:off x="7351977" y="3180970"/>
              <a:ext cx="518988" cy="518986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E32493BC-8213-4070-9CC2-8C7EBA3C6899}"/>
                </a:ext>
              </a:extLst>
            </p:cNvPr>
            <p:cNvSpPr/>
            <p:nvPr/>
          </p:nvSpPr>
          <p:spPr bwMode="auto">
            <a:xfrm>
              <a:off x="7476330" y="3295118"/>
              <a:ext cx="270280" cy="29068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4A349940-FDE7-4C66-BA6A-FD690C970A8F}"/>
                </a:ext>
              </a:extLst>
            </p:cNvPr>
            <p:cNvSpPr/>
            <p:nvPr/>
          </p:nvSpPr>
          <p:spPr>
            <a:xfrm>
              <a:off x="8005267" y="4199868"/>
              <a:ext cx="518988" cy="518986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3F4C73D4-DD92-46E0-AAA7-E4B53AAE527C}"/>
                </a:ext>
              </a:extLst>
            </p:cNvPr>
            <p:cNvSpPr/>
            <p:nvPr/>
          </p:nvSpPr>
          <p:spPr bwMode="auto">
            <a:xfrm>
              <a:off x="8129620" y="4314015"/>
              <a:ext cx="270280" cy="29068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65162D9-9B48-4473-A423-C9B884C73FF4}"/>
                </a:ext>
              </a:extLst>
            </p:cNvPr>
            <p:cNvSpPr/>
            <p:nvPr/>
          </p:nvSpPr>
          <p:spPr>
            <a:xfrm>
              <a:off x="6755451" y="2162072"/>
              <a:ext cx="518988" cy="518986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A269AFE-F898-4E44-B206-7ACC1C068F63}"/>
                </a:ext>
              </a:extLst>
            </p:cNvPr>
            <p:cNvSpPr/>
            <p:nvPr/>
          </p:nvSpPr>
          <p:spPr bwMode="auto">
            <a:xfrm>
              <a:off x="6879804" y="2276219"/>
              <a:ext cx="270280" cy="29068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8" name="矩形 7">
            <a:extLst>
              <a:ext uri="{FF2B5EF4-FFF2-40B4-BE49-F238E27FC236}">
                <a16:creationId xmlns:a16="http://schemas.microsoft.com/office/drawing/2014/main" id="{8DC80FE2-A312-4349-BC0C-AAA34988671A}"/>
              </a:ext>
            </a:extLst>
          </p:cNvPr>
          <p:cNvSpPr/>
          <p:nvPr/>
        </p:nvSpPr>
        <p:spPr>
          <a:xfrm>
            <a:off x="669925" y="1721444"/>
            <a:ext cx="3151449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D285CB3-C9D8-4AD2-9A06-211B0C6F2863}"/>
              </a:ext>
            </a:extLst>
          </p:cNvPr>
          <p:cNvSpPr/>
          <p:nvPr/>
        </p:nvSpPr>
        <p:spPr>
          <a:xfrm>
            <a:off x="669925" y="2750754"/>
            <a:ext cx="3151449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5267C2CE-3FAA-45BC-9E50-696A4710F798}"/>
              </a:ext>
            </a:extLst>
          </p:cNvPr>
          <p:cNvCxnSpPr>
            <a:cxnSpLocks/>
          </p:cNvCxnSpPr>
          <p:nvPr/>
        </p:nvCxnSpPr>
        <p:spPr>
          <a:xfrm>
            <a:off x="669925" y="2394000"/>
            <a:ext cx="6013556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8B303138-9E82-4C00-8686-BD071258A7C5}"/>
              </a:ext>
            </a:extLst>
          </p:cNvPr>
          <p:cNvCxnSpPr>
            <a:cxnSpLocks/>
          </p:cNvCxnSpPr>
          <p:nvPr/>
        </p:nvCxnSpPr>
        <p:spPr>
          <a:xfrm>
            <a:off x="669925" y="3423310"/>
            <a:ext cx="659666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9E72020D-53BD-45B9-B40E-32B96F3542EC}"/>
              </a:ext>
            </a:extLst>
          </p:cNvPr>
          <p:cNvSpPr/>
          <p:nvPr/>
        </p:nvSpPr>
        <p:spPr>
          <a:xfrm>
            <a:off x="847571" y="3780065"/>
            <a:ext cx="3066582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42AB5BFB-08D4-4F52-85BD-8C09EE051F9B}"/>
              </a:ext>
            </a:extLst>
          </p:cNvPr>
          <p:cNvSpPr/>
          <p:nvPr/>
        </p:nvSpPr>
        <p:spPr>
          <a:xfrm>
            <a:off x="4000988" y="1721444"/>
            <a:ext cx="3151449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A5471412-4977-4CE3-90CE-1F33107CAC88}"/>
              </a:ext>
            </a:extLst>
          </p:cNvPr>
          <p:cNvSpPr/>
          <p:nvPr/>
        </p:nvSpPr>
        <p:spPr>
          <a:xfrm>
            <a:off x="4000988" y="2750754"/>
            <a:ext cx="3151449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D3B495B-06EF-48A6-8D0F-BB69CE42EAD8}"/>
              </a:ext>
            </a:extLst>
          </p:cNvPr>
          <p:cNvSpPr/>
          <p:nvPr/>
        </p:nvSpPr>
        <p:spPr>
          <a:xfrm>
            <a:off x="4000988" y="3780065"/>
            <a:ext cx="3151449" cy="672556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</p:spTree>
    <p:extLst>
      <p:ext uri="{BB962C8B-B14F-4D97-AF65-F5344CB8AC3E}">
        <p14:creationId xmlns:p14="http://schemas.microsoft.com/office/powerpoint/2010/main" val="2178781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E7641D-A6EA-4640-9C02-D0DA2299D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6FCE2B0-F32B-4B84-B27C-04BD2FA38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8487ED4-61A1-4A3D-B305-CF0860055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8DA5832D-7F97-409E-8F2F-B87820F57D32}"/>
              </a:ext>
            </a:extLst>
          </p:cNvPr>
          <p:cNvCxnSpPr/>
          <p:nvPr/>
        </p:nvCxnSpPr>
        <p:spPr>
          <a:xfrm>
            <a:off x="7706646" y="3703625"/>
            <a:ext cx="379619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B059A2F-80BF-4240-B4C0-A6FF53F3C570}"/>
              </a:ext>
            </a:extLst>
          </p:cNvPr>
          <p:cNvCxnSpPr>
            <a:cxnSpLocks/>
          </p:cNvCxnSpPr>
          <p:nvPr/>
        </p:nvCxnSpPr>
        <p:spPr>
          <a:xfrm>
            <a:off x="697014" y="3523320"/>
            <a:ext cx="34253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>
            <a:extLst>
              <a:ext uri="{FF2B5EF4-FFF2-40B4-BE49-F238E27FC236}">
                <a16:creationId xmlns:a16="http://schemas.microsoft.com/office/drawing/2014/main" id="{34B4142B-28CE-4F5D-BADE-8EFBA632FFCC}"/>
              </a:ext>
            </a:extLst>
          </p:cNvPr>
          <p:cNvSpPr/>
          <p:nvPr/>
        </p:nvSpPr>
        <p:spPr bwMode="auto">
          <a:xfrm>
            <a:off x="687663" y="2803472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EA24B0E-660E-2DA1-AE97-AFBF1E227620}"/>
              </a:ext>
            </a:extLst>
          </p:cNvPr>
          <p:cNvGrpSpPr/>
          <p:nvPr/>
        </p:nvGrpSpPr>
        <p:grpSpPr>
          <a:xfrm>
            <a:off x="4041778" y="1659533"/>
            <a:ext cx="3514114" cy="3736718"/>
            <a:chOff x="4041778" y="1659533"/>
            <a:chExt cx="3514114" cy="3736718"/>
          </a:xfrm>
        </p:grpSpPr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8B6AA00D-5B2D-4632-8DE9-ABCB7BA511A2}"/>
              </a:ext>
            </a:extLst>
          </p:cNvPr>
          <p:cNvSpPr txBox="1"/>
          <p:nvPr/>
        </p:nvSpPr>
        <p:spPr bwMode="auto">
          <a:xfrm>
            <a:off x="687663" y="2384237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E55EB4C0-A038-4C35-8000-CC6BB38040E4}"/>
              </a:ext>
            </a:extLst>
          </p:cNvPr>
          <p:cNvSpPr/>
          <p:nvPr/>
        </p:nvSpPr>
        <p:spPr bwMode="auto">
          <a:xfrm>
            <a:off x="687663" y="4510867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2A501870-089C-43D4-9641-E3DA7A400B5F}"/>
              </a:ext>
            </a:extLst>
          </p:cNvPr>
          <p:cNvSpPr txBox="1"/>
          <p:nvPr/>
        </p:nvSpPr>
        <p:spPr bwMode="auto">
          <a:xfrm>
            <a:off x="687663" y="4091632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2CE1822C-5C9C-4BA8-B721-C9141ABB528F}"/>
              </a:ext>
            </a:extLst>
          </p:cNvPr>
          <p:cNvSpPr/>
          <p:nvPr/>
        </p:nvSpPr>
        <p:spPr bwMode="auto">
          <a:xfrm>
            <a:off x="8438288" y="2803472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0EB0075A-751F-4F6C-A626-197A47FFFEDD}"/>
              </a:ext>
            </a:extLst>
          </p:cNvPr>
          <p:cNvSpPr txBox="1"/>
          <p:nvPr/>
        </p:nvSpPr>
        <p:spPr bwMode="auto">
          <a:xfrm>
            <a:off x="8438288" y="2384237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D79B7C85-E96C-45D5-BF4A-10AA53A567BE}"/>
              </a:ext>
            </a:extLst>
          </p:cNvPr>
          <p:cNvSpPr/>
          <p:nvPr/>
        </p:nvSpPr>
        <p:spPr bwMode="auto">
          <a:xfrm>
            <a:off x="8438288" y="4510867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B27DF7C9-66A4-4619-9C5E-3652C1759A7F}"/>
              </a:ext>
            </a:extLst>
          </p:cNvPr>
          <p:cNvSpPr txBox="1"/>
          <p:nvPr/>
        </p:nvSpPr>
        <p:spPr bwMode="auto">
          <a:xfrm>
            <a:off x="8438288" y="4091632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2514079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D9E030-CE34-4A9C-A76C-52539101C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08454D0-C581-40B5-8519-714962733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7D647D-8E13-4698-B80D-9EB756007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8BBDEDBA-B30A-4EEA-A847-E529EEE19CD7}"/>
              </a:ext>
            </a:extLst>
          </p:cNvPr>
          <p:cNvSpPr txBox="1"/>
          <p:nvPr/>
        </p:nvSpPr>
        <p:spPr>
          <a:xfrm>
            <a:off x="669924" y="3002932"/>
            <a:ext cx="3536219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4BA5D65-867F-45B1-9C0E-25548EEFF7CB}"/>
              </a:ext>
            </a:extLst>
          </p:cNvPr>
          <p:cNvSpPr txBox="1"/>
          <p:nvPr/>
        </p:nvSpPr>
        <p:spPr>
          <a:xfrm>
            <a:off x="669924" y="3337963"/>
            <a:ext cx="3536219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5CBA9AD7-BFB1-46A8-8777-0D20D1067FDC}"/>
              </a:ext>
            </a:extLst>
          </p:cNvPr>
          <p:cNvCxnSpPr/>
          <p:nvPr/>
        </p:nvCxnSpPr>
        <p:spPr>
          <a:xfrm>
            <a:off x="667207" y="2739023"/>
            <a:ext cx="3574139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8B618C45-A042-43EE-B0C0-C441B83BCC6E}"/>
              </a:ext>
            </a:extLst>
          </p:cNvPr>
          <p:cNvCxnSpPr/>
          <p:nvPr/>
        </p:nvCxnSpPr>
        <p:spPr>
          <a:xfrm>
            <a:off x="667207" y="3826644"/>
            <a:ext cx="3574139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文本框 12">
            <a:extLst>
              <a:ext uri="{FF2B5EF4-FFF2-40B4-BE49-F238E27FC236}">
                <a16:creationId xmlns:a16="http://schemas.microsoft.com/office/drawing/2014/main" id="{DD8228E4-73C1-4931-B776-269879443833}"/>
              </a:ext>
            </a:extLst>
          </p:cNvPr>
          <p:cNvSpPr txBox="1"/>
          <p:nvPr/>
        </p:nvSpPr>
        <p:spPr>
          <a:xfrm>
            <a:off x="669924" y="1913577"/>
            <a:ext cx="3536219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E8C6E0F-0DCB-496D-9051-AD338DD427FE}"/>
              </a:ext>
            </a:extLst>
          </p:cNvPr>
          <p:cNvSpPr txBox="1"/>
          <p:nvPr/>
        </p:nvSpPr>
        <p:spPr>
          <a:xfrm>
            <a:off x="669924" y="2248608"/>
            <a:ext cx="3536219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077A76A6-605F-45CC-AE70-2A94EF782B7F}"/>
              </a:ext>
            </a:extLst>
          </p:cNvPr>
          <p:cNvSpPr txBox="1"/>
          <p:nvPr/>
        </p:nvSpPr>
        <p:spPr>
          <a:xfrm>
            <a:off x="669924" y="4092288"/>
            <a:ext cx="3536219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429F694-6AB1-4043-8128-CC056F0FC2E0}"/>
              </a:ext>
            </a:extLst>
          </p:cNvPr>
          <p:cNvSpPr txBox="1"/>
          <p:nvPr/>
        </p:nvSpPr>
        <p:spPr>
          <a:xfrm>
            <a:off x="669924" y="4427319"/>
            <a:ext cx="3536219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6E18982-7FE9-4E39-9B90-FBF21565D17F}"/>
              </a:ext>
            </a:extLst>
          </p:cNvPr>
          <p:cNvSpPr txBox="1"/>
          <p:nvPr/>
        </p:nvSpPr>
        <p:spPr>
          <a:xfrm>
            <a:off x="8041662" y="1913577"/>
            <a:ext cx="3478826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algn="r"/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0B0B7A40-2B6E-48EA-B5BB-26B21EE4FD75}"/>
              </a:ext>
            </a:extLst>
          </p:cNvPr>
          <p:cNvSpPr txBox="1"/>
          <p:nvPr/>
        </p:nvSpPr>
        <p:spPr>
          <a:xfrm>
            <a:off x="8041662" y="2248608"/>
            <a:ext cx="3478826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3F3AE978-2E5A-46A1-A529-6293ED8B47D6}"/>
              </a:ext>
            </a:extLst>
          </p:cNvPr>
          <p:cNvSpPr txBox="1"/>
          <p:nvPr/>
        </p:nvSpPr>
        <p:spPr>
          <a:xfrm>
            <a:off x="8041662" y="3002932"/>
            <a:ext cx="3478826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algn="r"/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7C6EC4EE-62AE-4AC2-9B7D-ED7D0D935339}"/>
              </a:ext>
            </a:extLst>
          </p:cNvPr>
          <p:cNvSpPr txBox="1"/>
          <p:nvPr/>
        </p:nvSpPr>
        <p:spPr>
          <a:xfrm>
            <a:off x="8041662" y="3337963"/>
            <a:ext cx="3478826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61DC2A72-8D61-407F-9DAD-316B02F71A81}"/>
              </a:ext>
            </a:extLst>
          </p:cNvPr>
          <p:cNvSpPr txBox="1"/>
          <p:nvPr/>
        </p:nvSpPr>
        <p:spPr>
          <a:xfrm>
            <a:off x="8041662" y="4092288"/>
            <a:ext cx="3478826" cy="335031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algn="r"/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F7A56ABB-867A-86E7-71A9-EA8431B0C376}"/>
              </a:ext>
            </a:extLst>
          </p:cNvPr>
          <p:cNvGrpSpPr/>
          <p:nvPr/>
        </p:nvGrpSpPr>
        <p:grpSpPr>
          <a:xfrm>
            <a:off x="4278567" y="1889377"/>
            <a:ext cx="3611208" cy="3036250"/>
            <a:chOff x="4278567" y="1889377"/>
            <a:chExt cx="3611208" cy="3036250"/>
          </a:xfrm>
        </p:grpSpPr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24219339-D677-40B1-80DA-FCDD6EC97760}"/>
                </a:ext>
              </a:extLst>
            </p:cNvPr>
            <p:cNvSpPr/>
            <p:nvPr/>
          </p:nvSpPr>
          <p:spPr>
            <a:xfrm>
              <a:off x="4460501" y="1889377"/>
              <a:ext cx="3174917" cy="3036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圆: 空心 9">
              <a:extLst>
                <a:ext uri="{FF2B5EF4-FFF2-40B4-BE49-F238E27FC236}">
                  <a16:creationId xmlns:a16="http://schemas.microsoft.com/office/drawing/2014/main" id="{D2E1FDBF-5522-4A87-B937-7BB96C286A69}"/>
                </a:ext>
              </a:extLst>
            </p:cNvPr>
            <p:cNvSpPr/>
            <p:nvPr/>
          </p:nvSpPr>
          <p:spPr>
            <a:xfrm>
              <a:off x="4519366" y="1889377"/>
              <a:ext cx="3072060" cy="3036250"/>
            </a:xfrm>
            <a:prstGeom prst="donut">
              <a:avLst>
                <a:gd name="adj" fmla="val 9168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1E95C54-A9F5-4411-A0C2-BA47118462FC}"/>
                </a:ext>
              </a:extLst>
            </p:cNvPr>
            <p:cNvSpPr/>
            <p:nvPr/>
          </p:nvSpPr>
          <p:spPr>
            <a:xfrm>
              <a:off x="5262118" y="2486317"/>
              <a:ext cx="1574083" cy="1336146"/>
            </a:xfrm>
            <a:custGeom>
              <a:avLst/>
              <a:gdLst>
                <a:gd name="connsiteX0" fmla="*/ 196850 w 338138"/>
                <a:gd name="connsiteY0" fmla="*/ 301625 h 336550"/>
                <a:gd name="connsiteX1" fmla="*/ 184150 w 338138"/>
                <a:gd name="connsiteY1" fmla="*/ 314325 h 336550"/>
                <a:gd name="connsiteX2" fmla="*/ 196850 w 338138"/>
                <a:gd name="connsiteY2" fmla="*/ 327025 h 336550"/>
                <a:gd name="connsiteX3" fmla="*/ 209550 w 338138"/>
                <a:gd name="connsiteY3" fmla="*/ 314325 h 336550"/>
                <a:gd name="connsiteX4" fmla="*/ 196850 w 338138"/>
                <a:gd name="connsiteY4" fmla="*/ 301625 h 336550"/>
                <a:gd name="connsiteX5" fmla="*/ 140495 w 338138"/>
                <a:gd name="connsiteY5" fmla="*/ 301625 h 336550"/>
                <a:gd name="connsiteX6" fmla="*/ 128588 w 338138"/>
                <a:gd name="connsiteY6" fmla="*/ 314325 h 336550"/>
                <a:gd name="connsiteX7" fmla="*/ 140495 w 338138"/>
                <a:gd name="connsiteY7" fmla="*/ 327025 h 336550"/>
                <a:gd name="connsiteX8" fmla="*/ 152402 w 338138"/>
                <a:gd name="connsiteY8" fmla="*/ 314325 h 336550"/>
                <a:gd name="connsiteX9" fmla="*/ 140495 w 338138"/>
                <a:gd name="connsiteY9" fmla="*/ 301625 h 336550"/>
                <a:gd name="connsiteX10" fmla="*/ 295275 w 338138"/>
                <a:gd name="connsiteY10" fmla="*/ 266700 h 336550"/>
                <a:gd name="connsiteX11" fmla="*/ 282575 w 338138"/>
                <a:gd name="connsiteY11" fmla="*/ 278607 h 336550"/>
                <a:gd name="connsiteX12" fmla="*/ 295275 w 338138"/>
                <a:gd name="connsiteY12" fmla="*/ 290514 h 336550"/>
                <a:gd name="connsiteX13" fmla="*/ 307975 w 338138"/>
                <a:gd name="connsiteY13" fmla="*/ 278607 h 336550"/>
                <a:gd name="connsiteX14" fmla="*/ 295275 w 338138"/>
                <a:gd name="connsiteY14" fmla="*/ 266700 h 336550"/>
                <a:gd name="connsiteX15" fmla="*/ 42863 w 338138"/>
                <a:gd name="connsiteY15" fmla="*/ 266700 h 336550"/>
                <a:gd name="connsiteX16" fmla="*/ 30163 w 338138"/>
                <a:gd name="connsiteY16" fmla="*/ 278607 h 336550"/>
                <a:gd name="connsiteX17" fmla="*/ 42863 w 338138"/>
                <a:gd name="connsiteY17" fmla="*/ 290514 h 336550"/>
                <a:gd name="connsiteX18" fmla="*/ 55563 w 338138"/>
                <a:gd name="connsiteY18" fmla="*/ 278607 h 336550"/>
                <a:gd name="connsiteX19" fmla="*/ 42863 w 338138"/>
                <a:gd name="connsiteY19" fmla="*/ 266700 h 336550"/>
                <a:gd name="connsiteX20" fmla="*/ 219538 w 338138"/>
                <a:gd name="connsiteY20" fmla="*/ 200025 h 336550"/>
                <a:gd name="connsiteX21" fmla="*/ 254805 w 338138"/>
                <a:gd name="connsiteY21" fmla="*/ 200025 h 336550"/>
                <a:gd name="connsiteX22" fmla="*/ 260029 w 338138"/>
                <a:gd name="connsiteY22" fmla="*/ 205303 h 336550"/>
                <a:gd name="connsiteX23" fmla="*/ 260029 w 338138"/>
                <a:gd name="connsiteY23" fmla="*/ 272596 h 336550"/>
                <a:gd name="connsiteX24" fmla="*/ 271785 w 338138"/>
                <a:gd name="connsiteY24" fmla="*/ 272596 h 336550"/>
                <a:gd name="connsiteX25" fmla="*/ 293990 w 338138"/>
                <a:gd name="connsiteY25" fmla="*/ 254124 h 336550"/>
                <a:gd name="connsiteX26" fmla="*/ 317501 w 338138"/>
                <a:gd name="connsiteY26" fmla="*/ 277874 h 336550"/>
                <a:gd name="connsiteX27" fmla="*/ 293990 w 338138"/>
                <a:gd name="connsiteY27" fmla="*/ 301625 h 336550"/>
                <a:gd name="connsiteX28" fmla="*/ 271785 w 338138"/>
                <a:gd name="connsiteY28" fmla="*/ 283152 h 336550"/>
                <a:gd name="connsiteX29" fmla="*/ 254805 w 338138"/>
                <a:gd name="connsiteY29" fmla="*/ 283152 h 336550"/>
                <a:gd name="connsiteX30" fmla="*/ 249580 w 338138"/>
                <a:gd name="connsiteY30" fmla="*/ 277874 h 336550"/>
                <a:gd name="connsiteX31" fmla="*/ 249580 w 338138"/>
                <a:gd name="connsiteY31" fmla="*/ 210581 h 336550"/>
                <a:gd name="connsiteX32" fmla="*/ 219538 w 338138"/>
                <a:gd name="connsiteY32" fmla="*/ 210581 h 336550"/>
                <a:gd name="connsiteX33" fmla="*/ 214313 w 338138"/>
                <a:gd name="connsiteY33" fmla="*/ 205303 h 336550"/>
                <a:gd name="connsiteX34" fmla="*/ 219538 w 338138"/>
                <a:gd name="connsiteY34" fmla="*/ 200025 h 336550"/>
                <a:gd name="connsiteX35" fmla="*/ 162217 w 338138"/>
                <a:gd name="connsiteY35" fmla="*/ 200025 h 336550"/>
                <a:gd name="connsiteX36" fmla="*/ 198081 w 338138"/>
                <a:gd name="connsiteY36" fmla="*/ 200025 h 336550"/>
                <a:gd name="connsiteX37" fmla="*/ 203395 w 338138"/>
                <a:gd name="connsiteY37" fmla="*/ 205276 h 336550"/>
                <a:gd name="connsiteX38" fmla="*/ 203395 w 338138"/>
                <a:gd name="connsiteY38" fmla="*/ 290604 h 336550"/>
                <a:gd name="connsiteX39" fmla="*/ 220663 w 338138"/>
                <a:gd name="connsiteY39" fmla="*/ 312921 h 336550"/>
                <a:gd name="connsiteX40" fmla="*/ 198081 w 338138"/>
                <a:gd name="connsiteY40" fmla="*/ 336550 h 336550"/>
                <a:gd name="connsiteX41" fmla="*/ 174172 w 338138"/>
                <a:gd name="connsiteY41" fmla="*/ 312921 h 336550"/>
                <a:gd name="connsiteX42" fmla="*/ 192768 w 338138"/>
                <a:gd name="connsiteY42" fmla="*/ 290604 h 336550"/>
                <a:gd name="connsiteX43" fmla="*/ 192768 w 338138"/>
                <a:gd name="connsiteY43" fmla="*/ 210527 h 336550"/>
                <a:gd name="connsiteX44" fmla="*/ 162217 w 338138"/>
                <a:gd name="connsiteY44" fmla="*/ 210527 h 336550"/>
                <a:gd name="connsiteX45" fmla="*/ 155575 w 338138"/>
                <a:gd name="connsiteY45" fmla="*/ 205276 h 336550"/>
                <a:gd name="connsiteX46" fmla="*/ 162217 w 338138"/>
                <a:gd name="connsiteY46" fmla="*/ 200025 h 336550"/>
                <a:gd name="connsiteX47" fmla="*/ 103738 w 338138"/>
                <a:gd name="connsiteY47" fmla="*/ 200025 h 336550"/>
                <a:gd name="connsiteX48" fmla="*/ 139603 w 338138"/>
                <a:gd name="connsiteY48" fmla="*/ 200025 h 336550"/>
                <a:gd name="connsiteX49" fmla="*/ 144916 w 338138"/>
                <a:gd name="connsiteY49" fmla="*/ 205276 h 336550"/>
                <a:gd name="connsiteX50" fmla="*/ 144916 w 338138"/>
                <a:gd name="connsiteY50" fmla="*/ 290604 h 336550"/>
                <a:gd name="connsiteX51" fmla="*/ 163513 w 338138"/>
                <a:gd name="connsiteY51" fmla="*/ 312921 h 336550"/>
                <a:gd name="connsiteX52" fmla="*/ 139603 w 338138"/>
                <a:gd name="connsiteY52" fmla="*/ 336550 h 336550"/>
                <a:gd name="connsiteX53" fmla="*/ 117022 w 338138"/>
                <a:gd name="connsiteY53" fmla="*/ 312921 h 336550"/>
                <a:gd name="connsiteX54" fmla="*/ 134290 w 338138"/>
                <a:gd name="connsiteY54" fmla="*/ 290604 h 336550"/>
                <a:gd name="connsiteX55" fmla="*/ 134290 w 338138"/>
                <a:gd name="connsiteY55" fmla="*/ 210527 h 336550"/>
                <a:gd name="connsiteX56" fmla="*/ 103738 w 338138"/>
                <a:gd name="connsiteY56" fmla="*/ 210527 h 336550"/>
                <a:gd name="connsiteX57" fmla="*/ 98425 w 338138"/>
                <a:gd name="connsiteY57" fmla="*/ 205276 h 336550"/>
                <a:gd name="connsiteX58" fmla="*/ 103738 w 338138"/>
                <a:gd name="connsiteY58" fmla="*/ 200025 h 336550"/>
                <a:gd name="connsiteX59" fmla="*/ 256382 w 338138"/>
                <a:gd name="connsiteY59" fmla="*/ 72732 h 336550"/>
                <a:gd name="connsiteX60" fmla="*/ 262996 w 338138"/>
                <a:gd name="connsiteY60" fmla="*/ 75319 h 336550"/>
                <a:gd name="connsiteX61" fmla="*/ 268288 w 338138"/>
                <a:gd name="connsiteY61" fmla="*/ 101189 h 336550"/>
                <a:gd name="connsiteX62" fmla="*/ 262996 w 338138"/>
                <a:gd name="connsiteY62" fmla="*/ 106363 h 336550"/>
                <a:gd name="connsiteX63" fmla="*/ 257705 w 338138"/>
                <a:gd name="connsiteY63" fmla="*/ 101189 h 336550"/>
                <a:gd name="connsiteX64" fmla="*/ 253736 w 338138"/>
                <a:gd name="connsiteY64" fmla="*/ 79199 h 336550"/>
                <a:gd name="connsiteX65" fmla="*/ 256382 w 338138"/>
                <a:gd name="connsiteY65" fmla="*/ 72732 h 336550"/>
                <a:gd name="connsiteX66" fmla="*/ 195792 w 338138"/>
                <a:gd name="connsiteY66" fmla="*/ 28575 h 336550"/>
                <a:gd name="connsiteX67" fmla="*/ 252677 w 338138"/>
                <a:gd name="connsiteY67" fmla="*/ 55622 h 336550"/>
                <a:gd name="connsiteX68" fmla="*/ 251354 w 338138"/>
                <a:gd name="connsiteY68" fmla="*/ 63736 h 336550"/>
                <a:gd name="connsiteX69" fmla="*/ 247385 w 338138"/>
                <a:gd name="connsiteY69" fmla="*/ 65088 h 336550"/>
                <a:gd name="connsiteX70" fmla="*/ 243417 w 338138"/>
                <a:gd name="connsiteY70" fmla="*/ 62383 h 336550"/>
                <a:gd name="connsiteX71" fmla="*/ 195792 w 338138"/>
                <a:gd name="connsiteY71" fmla="*/ 39394 h 336550"/>
                <a:gd name="connsiteX72" fmla="*/ 190500 w 338138"/>
                <a:gd name="connsiteY72" fmla="*/ 33984 h 336550"/>
                <a:gd name="connsiteX73" fmla="*/ 195792 w 338138"/>
                <a:gd name="connsiteY73" fmla="*/ 28575 h 336550"/>
                <a:gd name="connsiteX74" fmla="*/ 195486 w 338138"/>
                <a:gd name="connsiteY74" fmla="*/ 0 h 336550"/>
                <a:gd name="connsiteX75" fmla="*/ 266812 w 338138"/>
                <a:gd name="connsiteY75" fmla="*/ 28977 h 336550"/>
                <a:gd name="connsiteX76" fmla="*/ 297192 w 338138"/>
                <a:gd name="connsiteY76" fmla="*/ 97468 h 336550"/>
                <a:gd name="connsiteX77" fmla="*/ 324930 w 338138"/>
                <a:gd name="connsiteY77" fmla="*/ 115908 h 336550"/>
                <a:gd name="connsiteX78" fmla="*/ 338138 w 338138"/>
                <a:gd name="connsiteY78" fmla="*/ 152788 h 336550"/>
                <a:gd name="connsiteX79" fmla="*/ 280021 w 338138"/>
                <a:gd name="connsiteY79" fmla="*/ 210742 h 336550"/>
                <a:gd name="connsiteX80" fmla="*/ 277379 w 338138"/>
                <a:gd name="connsiteY80" fmla="*/ 210742 h 336550"/>
                <a:gd name="connsiteX81" fmla="*/ 272095 w 338138"/>
                <a:gd name="connsiteY81" fmla="*/ 205474 h 336550"/>
                <a:gd name="connsiteX82" fmla="*/ 277379 w 338138"/>
                <a:gd name="connsiteY82" fmla="*/ 200205 h 336550"/>
                <a:gd name="connsiteX83" fmla="*/ 280021 w 338138"/>
                <a:gd name="connsiteY83" fmla="*/ 200205 h 336550"/>
                <a:gd name="connsiteX84" fmla="*/ 327571 w 338138"/>
                <a:gd name="connsiteY84" fmla="*/ 152788 h 336550"/>
                <a:gd name="connsiteX85" fmla="*/ 290587 w 338138"/>
                <a:gd name="connsiteY85" fmla="*/ 106688 h 336550"/>
                <a:gd name="connsiteX86" fmla="*/ 286625 w 338138"/>
                <a:gd name="connsiteY86" fmla="*/ 101420 h 336550"/>
                <a:gd name="connsiteX87" fmla="*/ 195486 w 338138"/>
                <a:gd name="connsiteY87" fmla="*/ 10537 h 336550"/>
                <a:gd name="connsiteX88" fmla="*/ 114914 w 338138"/>
                <a:gd name="connsiteY88" fmla="*/ 57954 h 336550"/>
                <a:gd name="connsiteX89" fmla="*/ 108310 w 338138"/>
                <a:gd name="connsiteY89" fmla="*/ 60588 h 336550"/>
                <a:gd name="connsiteX90" fmla="*/ 93781 w 338138"/>
                <a:gd name="connsiteY90" fmla="*/ 56637 h 336550"/>
                <a:gd name="connsiteX91" fmla="*/ 58118 w 338138"/>
                <a:gd name="connsiteY91" fmla="*/ 88248 h 336550"/>
                <a:gd name="connsiteX92" fmla="*/ 54155 w 338138"/>
                <a:gd name="connsiteY92" fmla="*/ 93517 h 336550"/>
                <a:gd name="connsiteX93" fmla="*/ 10567 w 338138"/>
                <a:gd name="connsiteY93" fmla="*/ 146203 h 336550"/>
                <a:gd name="connsiteX94" fmla="*/ 64722 w 338138"/>
                <a:gd name="connsiteY94" fmla="*/ 200205 h 336550"/>
                <a:gd name="connsiteX95" fmla="*/ 83214 w 338138"/>
                <a:gd name="connsiteY95" fmla="*/ 200205 h 336550"/>
                <a:gd name="connsiteX96" fmla="*/ 88497 w 338138"/>
                <a:gd name="connsiteY96" fmla="*/ 205474 h 336550"/>
                <a:gd name="connsiteX97" fmla="*/ 88497 w 338138"/>
                <a:gd name="connsiteY97" fmla="*/ 277917 h 336550"/>
                <a:gd name="connsiteX98" fmla="*/ 83214 w 338138"/>
                <a:gd name="connsiteY98" fmla="*/ 283185 h 336550"/>
                <a:gd name="connsiteX99" fmla="*/ 66043 w 338138"/>
                <a:gd name="connsiteY99" fmla="*/ 283185 h 336550"/>
                <a:gd name="connsiteX100" fmla="*/ 43588 w 338138"/>
                <a:gd name="connsiteY100" fmla="*/ 301625 h 336550"/>
                <a:gd name="connsiteX101" fmla="*/ 19813 w 338138"/>
                <a:gd name="connsiteY101" fmla="*/ 277917 h 336550"/>
                <a:gd name="connsiteX102" fmla="*/ 43588 w 338138"/>
                <a:gd name="connsiteY102" fmla="*/ 254208 h 336550"/>
                <a:gd name="connsiteX103" fmla="*/ 66043 w 338138"/>
                <a:gd name="connsiteY103" fmla="*/ 272648 h 336550"/>
                <a:gd name="connsiteX104" fmla="*/ 77930 w 338138"/>
                <a:gd name="connsiteY104" fmla="*/ 272648 h 336550"/>
                <a:gd name="connsiteX105" fmla="*/ 77930 w 338138"/>
                <a:gd name="connsiteY105" fmla="*/ 210742 h 336550"/>
                <a:gd name="connsiteX106" fmla="*/ 64722 w 338138"/>
                <a:gd name="connsiteY106" fmla="*/ 210742 h 336550"/>
                <a:gd name="connsiteX107" fmla="*/ 0 w 338138"/>
                <a:gd name="connsiteY107" fmla="*/ 146203 h 336550"/>
                <a:gd name="connsiteX108" fmla="*/ 48872 w 338138"/>
                <a:gd name="connsiteY108" fmla="*/ 82980 h 336550"/>
                <a:gd name="connsiteX109" fmla="*/ 93781 w 338138"/>
                <a:gd name="connsiteY109" fmla="*/ 46100 h 336550"/>
                <a:gd name="connsiteX110" fmla="*/ 108310 w 338138"/>
                <a:gd name="connsiteY110" fmla="*/ 48734 h 336550"/>
                <a:gd name="connsiteX111" fmla="*/ 195486 w 338138"/>
                <a:gd name="connsiteY111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338138" h="336550">
                  <a:moveTo>
                    <a:pt x="196850" y="301625"/>
                  </a:moveTo>
                  <a:cubicBezTo>
                    <a:pt x="189836" y="301625"/>
                    <a:pt x="184150" y="307311"/>
                    <a:pt x="184150" y="314325"/>
                  </a:cubicBezTo>
                  <a:cubicBezTo>
                    <a:pt x="184150" y="321339"/>
                    <a:pt x="189836" y="327025"/>
                    <a:pt x="196850" y="327025"/>
                  </a:cubicBezTo>
                  <a:cubicBezTo>
                    <a:pt x="203864" y="327025"/>
                    <a:pt x="209550" y="321339"/>
                    <a:pt x="209550" y="314325"/>
                  </a:cubicBezTo>
                  <a:cubicBezTo>
                    <a:pt x="209550" y="307311"/>
                    <a:pt x="203864" y="301625"/>
                    <a:pt x="196850" y="301625"/>
                  </a:cubicBezTo>
                  <a:close/>
                  <a:moveTo>
                    <a:pt x="140495" y="301625"/>
                  </a:moveTo>
                  <a:cubicBezTo>
                    <a:pt x="133919" y="301625"/>
                    <a:pt x="128588" y="307311"/>
                    <a:pt x="128588" y="314325"/>
                  </a:cubicBezTo>
                  <a:cubicBezTo>
                    <a:pt x="128588" y="321339"/>
                    <a:pt x="133919" y="327025"/>
                    <a:pt x="140495" y="327025"/>
                  </a:cubicBezTo>
                  <a:cubicBezTo>
                    <a:pt x="147071" y="327025"/>
                    <a:pt x="152402" y="321339"/>
                    <a:pt x="152402" y="314325"/>
                  </a:cubicBezTo>
                  <a:cubicBezTo>
                    <a:pt x="152402" y="307311"/>
                    <a:pt x="147071" y="301625"/>
                    <a:pt x="140495" y="301625"/>
                  </a:cubicBezTo>
                  <a:close/>
                  <a:moveTo>
                    <a:pt x="295275" y="266700"/>
                  </a:moveTo>
                  <a:cubicBezTo>
                    <a:pt x="288261" y="266700"/>
                    <a:pt x="282575" y="272031"/>
                    <a:pt x="282575" y="278607"/>
                  </a:cubicBezTo>
                  <a:cubicBezTo>
                    <a:pt x="282575" y="285183"/>
                    <a:pt x="288261" y="290514"/>
                    <a:pt x="295275" y="290514"/>
                  </a:cubicBezTo>
                  <a:cubicBezTo>
                    <a:pt x="302289" y="290514"/>
                    <a:pt x="307975" y="285183"/>
                    <a:pt x="307975" y="278607"/>
                  </a:cubicBezTo>
                  <a:cubicBezTo>
                    <a:pt x="307975" y="272031"/>
                    <a:pt x="302289" y="266700"/>
                    <a:pt x="295275" y="266700"/>
                  </a:cubicBezTo>
                  <a:close/>
                  <a:moveTo>
                    <a:pt x="42863" y="266700"/>
                  </a:moveTo>
                  <a:cubicBezTo>
                    <a:pt x="35849" y="266700"/>
                    <a:pt x="30163" y="272031"/>
                    <a:pt x="30163" y="278607"/>
                  </a:cubicBezTo>
                  <a:cubicBezTo>
                    <a:pt x="30163" y="285183"/>
                    <a:pt x="35849" y="290514"/>
                    <a:pt x="42863" y="290514"/>
                  </a:cubicBezTo>
                  <a:cubicBezTo>
                    <a:pt x="49877" y="290514"/>
                    <a:pt x="55563" y="285183"/>
                    <a:pt x="55563" y="278607"/>
                  </a:cubicBezTo>
                  <a:cubicBezTo>
                    <a:pt x="55563" y="272031"/>
                    <a:pt x="49877" y="266700"/>
                    <a:pt x="42863" y="266700"/>
                  </a:cubicBezTo>
                  <a:close/>
                  <a:moveTo>
                    <a:pt x="219538" y="200025"/>
                  </a:moveTo>
                  <a:cubicBezTo>
                    <a:pt x="219538" y="200025"/>
                    <a:pt x="219538" y="200025"/>
                    <a:pt x="254805" y="200025"/>
                  </a:cubicBezTo>
                  <a:cubicBezTo>
                    <a:pt x="258723" y="200025"/>
                    <a:pt x="260029" y="201344"/>
                    <a:pt x="260029" y="205303"/>
                  </a:cubicBezTo>
                  <a:cubicBezTo>
                    <a:pt x="260029" y="205303"/>
                    <a:pt x="260029" y="205303"/>
                    <a:pt x="260029" y="272596"/>
                  </a:cubicBezTo>
                  <a:cubicBezTo>
                    <a:pt x="260029" y="272596"/>
                    <a:pt x="260029" y="272596"/>
                    <a:pt x="271785" y="272596"/>
                  </a:cubicBezTo>
                  <a:cubicBezTo>
                    <a:pt x="274397" y="262041"/>
                    <a:pt x="283540" y="254124"/>
                    <a:pt x="293990" y="254124"/>
                  </a:cubicBezTo>
                  <a:cubicBezTo>
                    <a:pt x="307052" y="254124"/>
                    <a:pt x="317501" y="264680"/>
                    <a:pt x="317501" y="277874"/>
                  </a:cubicBezTo>
                  <a:cubicBezTo>
                    <a:pt x="317501" y="291069"/>
                    <a:pt x="307052" y="301625"/>
                    <a:pt x="293990" y="301625"/>
                  </a:cubicBezTo>
                  <a:cubicBezTo>
                    <a:pt x="283540" y="301625"/>
                    <a:pt x="274397" y="293708"/>
                    <a:pt x="271785" y="283152"/>
                  </a:cubicBezTo>
                  <a:cubicBezTo>
                    <a:pt x="271785" y="283152"/>
                    <a:pt x="271785" y="283152"/>
                    <a:pt x="254805" y="283152"/>
                  </a:cubicBezTo>
                  <a:cubicBezTo>
                    <a:pt x="252192" y="283152"/>
                    <a:pt x="249580" y="280513"/>
                    <a:pt x="249580" y="277874"/>
                  </a:cubicBezTo>
                  <a:cubicBezTo>
                    <a:pt x="249580" y="277874"/>
                    <a:pt x="249580" y="277874"/>
                    <a:pt x="249580" y="210581"/>
                  </a:cubicBezTo>
                  <a:cubicBezTo>
                    <a:pt x="249580" y="210581"/>
                    <a:pt x="249580" y="210581"/>
                    <a:pt x="219538" y="210581"/>
                  </a:cubicBezTo>
                  <a:cubicBezTo>
                    <a:pt x="216925" y="210581"/>
                    <a:pt x="214313" y="207942"/>
                    <a:pt x="214313" y="205303"/>
                  </a:cubicBezTo>
                  <a:cubicBezTo>
                    <a:pt x="214313" y="201344"/>
                    <a:pt x="216925" y="200025"/>
                    <a:pt x="219538" y="200025"/>
                  </a:cubicBezTo>
                  <a:close/>
                  <a:moveTo>
                    <a:pt x="162217" y="200025"/>
                  </a:moveTo>
                  <a:cubicBezTo>
                    <a:pt x="162217" y="200025"/>
                    <a:pt x="162217" y="200025"/>
                    <a:pt x="198081" y="200025"/>
                  </a:cubicBezTo>
                  <a:cubicBezTo>
                    <a:pt x="200738" y="200025"/>
                    <a:pt x="203395" y="201338"/>
                    <a:pt x="203395" y="205276"/>
                  </a:cubicBezTo>
                  <a:cubicBezTo>
                    <a:pt x="203395" y="205276"/>
                    <a:pt x="203395" y="205276"/>
                    <a:pt x="203395" y="290604"/>
                  </a:cubicBezTo>
                  <a:cubicBezTo>
                    <a:pt x="214021" y="293230"/>
                    <a:pt x="220663" y="302419"/>
                    <a:pt x="220663" y="312921"/>
                  </a:cubicBezTo>
                  <a:cubicBezTo>
                    <a:pt x="220663" y="326048"/>
                    <a:pt x="211365" y="336550"/>
                    <a:pt x="198081" y="336550"/>
                  </a:cubicBezTo>
                  <a:cubicBezTo>
                    <a:pt x="184798" y="336550"/>
                    <a:pt x="174172" y="326048"/>
                    <a:pt x="174172" y="312921"/>
                  </a:cubicBezTo>
                  <a:cubicBezTo>
                    <a:pt x="174172" y="302419"/>
                    <a:pt x="182142" y="293230"/>
                    <a:pt x="192768" y="290604"/>
                  </a:cubicBezTo>
                  <a:cubicBezTo>
                    <a:pt x="192768" y="290604"/>
                    <a:pt x="192768" y="290604"/>
                    <a:pt x="192768" y="210527"/>
                  </a:cubicBezTo>
                  <a:cubicBezTo>
                    <a:pt x="192768" y="210527"/>
                    <a:pt x="192768" y="210527"/>
                    <a:pt x="162217" y="210527"/>
                  </a:cubicBezTo>
                  <a:cubicBezTo>
                    <a:pt x="158232" y="210527"/>
                    <a:pt x="155575" y="207901"/>
                    <a:pt x="155575" y="205276"/>
                  </a:cubicBezTo>
                  <a:cubicBezTo>
                    <a:pt x="155575" y="201338"/>
                    <a:pt x="158232" y="200025"/>
                    <a:pt x="162217" y="200025"/>
                  </a:cubicBezTo>
                  <a:close/>
                  <a:moveTo>
                    <a:pt x="103738" y="200025"/>
                  </a:moveTo>
                  <a:cubicBezTo>
                    <a:pt x="103738" y="200025"/>
                    <a:pt x="103738" y="200025"/>
                    <a:pt x="139603" y="200025"/>
                  </a:cubicBezTo>
                  <a:cubicBezTo>
                    <a:pt x="142260" y="200025"/>
                    <a:pt x="144916" y="201338"/>
                    <a:pt x="144916" y="205276"/>
                  </a:cubicBezTo>
                  <a:cubicBezTo>
                    <a:pt x="144916" y="205276"/>
                    <a:pt x="144916" y="205276"/>
                    <a:pt x="144916" y="290604"/>
                  </a:cubicBezTo>
                  <a:cubicBezTo>
                    <a:pt x="155543" y="293230"/>
                    <a:pt x="163513" y="302419"/>
                    <a:pt x="163513" y="312921"/>
                  </a:cubicBezTo>
                  <a:cubicBezTo>
                    <a:pt x="163513" y="326048"/>
                    <a:pt x="152886" y="336550"/>
                    <a:pt x="139603" y="336550"/>
                  </a:cubicBezTo>
                  <a:cubicBezTo>
                    <a:pt x="126320" y="336550"/>
                    <a:pt x="117022" y="326048"/>
                    <a:pt x="117022" y="312921"/>
                  </a:cubicBezTo>
                  <a:cubicBezTo>
                    <a:pt x="117022" y="302419"/>
                    <a:pt x="123663" y="293230"/>
                    <a:pt x="134290" y="290604"/>
                  </a:cubicBezTo>
                  <a:cubicBezTo>
                    <a:pt x="134290" y="290604"/>
                    <a:pt x="134290" y="290604"/>
                    <a:pt x="134290" y="210527"/>
                  </a:cubicBezTo>
                  <a:cubicBezTo>
                    <a:pt x="134290" y="210527"/>
                    <a:pt x="134290" y="210527"/>
                    <a:pt x="103738" y="210527"/>
                  </a:cubicBezTo>
                  <a:cubicBezTo>
                    <a:pt x="101082" y="210527"/>
                    <a:pt x="98425" y="207901"/>
                    <a:pt x="98425" y="205276"/>
                  </a:cubicBezTo>
                  <a:cubicBezTo>
                    <a:pt x="98425" y="201338"/>
                    <a:pt x="101082" y="200025"/>
                    <a:pt x="103738" y="200025"/>
                  </a:cubicBezTo>
                  <a:close/>
                  <a:moveTo>
                    <a:pt x="256382" y="72732"/>
                  </a:moveTo>
                  <a:cubicBezTo>
                    <a:pt x="259028" y="71438"/>
                    <a:pt x="262996" y="72732"/>
                    <a:pt x="262996" y="75319"/>
                  </a:cubicBezTo>
                  <a:cubicBezTo>
                    <a:pt x="266965" y="84373"/>
                    <a:pt x="268288" y="92134"/>
                    <a:pt x="268288" y="101189"/>
                  </a:cubicBezTo>
                  <a:cubicBezTo>
                    <a:pt x="268288" y="103776"/>
                    <a:pt x="265642" y="106363"/>
                    <a:pt x="262996" y="106363"/>
                  </a:cubicBezTo>
                  <a:cubicBezTo>
                    <a:pt x="260351" y="106363"/>
                    <a:pt x="257705" y="103776"/>
                    <a:pt x="257705" y="101189"/>
                  </a:cubicBezTo>
                  <a:cubicBezTo>
                    <a:pt x="257705" y="93428"/>
                    <a:pt x="256382" y="86960"/>
                    <a:pt x="253736" y="79199"/>
                  </a:cubicBezTo>
                  <a:cubicBezTo>
                    <a:pt x="252413" y="76612"/>
                    <a:pt x="253736" y="74025"/>
                    <a:pt x="256382" y="72732"/>
                  </a:cubicBezTo>
                  <a:close/>
                  <a:moveTo>
                    <a:pt x="195792" y="28575"/>
                  </a:moveTo>
                  <a:cubicBezTo>
                    <a:pt x="216958" y="28575"/>
                    <a:pt x="238125" y="38041"/>
                    <a:pt x="252677" y="55622"/>
                  </a:cubicBezTo>
                  <a:cubicBezTo>
                    <a:pt x="254000" y="58326"/>
                    <a:pt x="254000" y="61031"/>
                    <a:pt x="251354" y="63736"/>
                  </a:cubicBezTo>
                  <a:cubicBezTo>
                    <a:pt x="250031" y="63736"/>
                    <a:pt x="248708" y="65088"/>
                    <a:pt x="247385" y="65088"/>
                  </a:cubicBezTo>
                  <a:cubicBezTo>
                    <a:pt x="246063" y="65088"/>
                    <a:pt x="244740" y="63736"/>
                    <a:pt x="243417" y="62383"/>
                  </a:cubicBezTo>
                  <a:cubicBezTo>
                    <a:pt x="231510" y="47508"/>
                    <a:pt x="214313" y="39394"/>
                    <a:pt x="195792" y="39394"/>
                  </a:cubicBezTo>
                  <a:cubicBezTo>
                    <a:pt x="191823" y="39394"/>
                    <a:pt x="190500" y="36689"/>
                    <a:pt x="190500" y="33984"/>
                  </a:cubicBezTo>
                  <a:cubicBezTo>
                    <a:pt x="190500" y="31280"/>
                    <a:pt x="191823" y="28575"/>
                    <a:pt x="195792" y="28575"/>
                  </a:cubicBezTo>
                  <a:close/>
                  <a:moveTo>
                    <a:pt x="195486" y="0"/>
                  </a:moveTo>
                  <a:cubicBezTo>
                    <a:pt x="221903" y="0"/>
                    <a:pt x="248320" y="10537"/>
                    <a:pt x="266812" y="28977"/>
                  </a:cubicBezTo>
                  <a:cubicBezTo>
                    <a:pt x="285304" y="47417"/>
                    <a:pt x="295871" y="71126"/>
                    <a:pt x="297192" y="97468"/>
                  </a:cubicBezTo>
                  <a:cubicBezTo>
                    <a:pt x="307758" y="100103"/>
                    <a:pt x="318325" y="106688"/>
                    <a:pt x="324930" y="115908"/>
                  </a:cubicBezTo>
                  <a:cubicBezTo>
                    <a:pt x="334175" y="126445"/>
                    <a:pt x="338138" y="139617"/>
                    <a:pt x="338138" y="152788"/>
                  </a:cubicBezTo>
                  <a:cubicBezTo>
                    <a:pt x="338138" y="184400"/>
                    <a:pt x="311721" y="210742"/>
                    <a:pt x="280021" y="210742"/>
                  </a:cubicBezTo>
                  <a:cubicBezTo>
                    <a:pt x="280021" y="210742"/>
                    <a:pt x="280021" y="210742"/>
                    <a:pt x="277379" y="210742"/>
                  </a:cubicBezTo>
                  <a:cubicBezTo>
                    <a:pt x="273416" y="210742"/>
                    <a:pt x="272095" y="208108"/>
                    <a:pt x="272095" y="205474"/>
                  </a:cubicBezTo>
                  <a:cubicBezTo>
                    <a:pt x="272095" y="201522"/>
                    <a:pt x="273416" y="200205"/>
                    <a:pt x="277379" y="200205"/>
                  </a:cubicBezTo>
                  <a:cubicBezTo>
                    <a:pt x="277379" y="200205"/>
                    <a:pt x="277379" y="200205"/>
                    <a:pt x="280021" y="200205"/>
                  </a:cubicBezTo>
                  <a:cubicBezTo>
                    <a:pt x="306438" y="200205"/>
                    <a:pt x="327571" y="177814"/>
                    <a:pt x="327571" y="152788"/>
                  </a:cubicBezTo>
                  <a:cubicBezTo>
                    <a:pt x="327571" y="130397"/>
                    <a:pt x="311721" y="110640"/>
                    <a:pt x="290587" y="106688"/>
                  </a:cubicBezTo>
                  <a:cubicBezTo>
                    <a:pt x="287946" y="105371"/>
                    <a:pt x="286625" y="104054"/>
                    <a:pt x="286625" y="101420"/>
                  </a:cubicBezTo>
                  <a:cubicBezTo>
                    <a:pt x="286625" y="51368"/>
                    <a:pt x="245678" y="10537"/>
                    <a:pt x="195486" y="10537"/>
                  </a:cubicBezTo>
                  <a:cubicBezTo>
                    <a:pt x="162465" y="10537"/>
                    <a:pt x="130764" y="28977"/>
                    <a:pt x="114914" y="57954"/>
                  </a:cubicBezTo>
                  <a:cubicBezTo>
                    <a:pt x="113593" y="60588"/>
                    <a:pt x="110952" y="61906"/>
                    <a:pt x="108310" y="60588"/>
                  </a:cubicBezTo>
                  <a:cubicBezTo>
                    <a:pt x="104347" y="57954"/>
                    <a:pt x="99064" y="56637"/>
                    <a:pt x="93781" y="56637"/>
                  </a:cubicBezTo>
                  <a:cubicBezTo>
                    <a:pt x="76609" y="56637"/>
                    <a:pt x="60759" y="71126"/>
                    <a:pt x="58118" y="88248"/>
                  </a:cubicBezTo>
                  <a:cubicBezTo>
                    <a:pt x="58118" y="90883"/>
                    <a:pt x="56797" y="92200"/>
                    <a:pt x="54155" y="93517"/>
                  </a:cubicBezTo>
                  <a:cubicBezTo>
                    <a:pt x="29059" y="97468"/>
                    <a:pt x="10567" y="119860"/>
                    <a:pt x="10567" y="146203"/>
                  </a:cubicBezTo>
                  <a:cubicBezTo>
                    <a:pt x="10567" y="175180"/>
                    <a:pt x="35663" y="200205"/>
                    <a:pt x="64722" y="200205"/>
                  </a:cubicBezTo>
                  <a:cubicBezTo>
                    <a:pt x="64722" y="200205"/>
                    <a:pt x="64722" y="200205"/>
                    <a:pt x="83214" y="200205"/>
                  </a:cubicBezTo>
                  <a:cubicBezTo>
                    <a:pt x="85855" y="200205"/>
                    <a:pt x="88497" y="201522"/>
                    <a:pt x="88497" y="205474"/>
                  </a:cubicBezTo>
                  <a:cubicBezTo>
                    <a:pt x="88497" y="205474"/>
                    <a:pt x="88497" y="205474"/>
                    <a:pt x="88497" y="277917"/>
                  </a:cubicBezTo>
                  <a:cubicBezTo>
                    <a:pt x="88497" y="280551"/>
                    <a:pt x="85855" y="283185"/>
                    <a:pt x="83214" y="283185"/>
                  </a:cubicBezTo>
                  <a:cubicBezTo>
                    <a:pt x="83214" y="283185"/>
                    <a:pt x="83214" y="283185"/>
                    <a:pt x="66043" y="283185"/>
                  </a:cubicBezTo>
                  <a:cubicBezTo>
                    <a:pt x="63401" y="293722"/>
                    <a:pt x="54155" y="301625"/>
                    <a:pt x="43588" y="301625"/>
                  </a:cubicBezTo>
                  <a:cubicBezTo>
                    <a:pt x="30380" y="301625"/>
                    <a:pt x="19813" y="291088"/>
                    <a:pt x="19813" y="277917"/>
                  </a:cubicBezTo>
                  <a:cubicBezTo>
                    <a:pt x="19813" y="264745"/>
                    <a:pt x="30380" y="254208"/>
                    <a:pt x="43588" y="254208"/>
                  </a:cubicBezTo>
                  <a:cubicBezTo>
                    <a:pt x="54155" y="254208"/>
                    <a:pt x="63401" y="262111"/>
                    <a:pt x="66043" y="272648"/>
                  </a:cubicBezTo>
                  <a:cubicBezTo>
                    <a:pt x="66043" y="272648"/>
                    <a:pt x="66043" y="272648"/>
                    <a:pt x="77930" y="272648"/>
                  </a:cubicBezTo>
                  <a:cubicBezTo>
                    <a:pt x="77930" y="272648"/>
                    <a:pt x="77930" y="272648"/>
                    <a:pt x="77930" y="210742"/>
                  </a:cubicBezTo>
                  <a:cubicBezTo>
                    <a:pt x="77930" y="210742"/>
                    <a:pt x="77930" y="210742"/>
                    <a:pt x="64722" y="210742"/>
                  </a:cubicBezTo>
                  <a:cubicBezTo>
                    <a:pt x="29059" y="210742"/>
                    <a:pt x="0" y="181765"/>
                    <a:pt x="0" y="146203"/>
                  </a:cubicBezTo>
                  <a:cubicBezTo>
                    <a:pt x="0" y="115908"/>
                    <a:pt x="19813" y="90883"/>
                    <a:pt x="48872" y="82980"/>
                  </a:cubicBezTo>
                  <a:cubicBezTo>
                    <a:pt x="52834" y="61906"/>
                    <a:pt x="72647" y="46100"/>
                    <a:pt x="93781" y="46100"/>
                  </a:cubicBezTo>
                  <a:cubicBezTo>
                    <a:pt x="99064" y="46100"/>
                    <a:pt x="103026" y="47417"/>
                    <a:pt x="108310" y="48734"/>
                  </a:cubicBezTo>
                  <a:cubicBezTo>
                    <a:pt x="126802" y="18440"/>
                    <a:pt x="159823" y="0"/>
                    <a:pt x="19548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8580" tIns="34290" rIns="68580" bIns="34290" anchor="ctr">
              <a:noAutofit/>
            </a:bodyPr>
            <a:lstStyle/>
            <a:p>
              <a:pPr algn="ctr"/>
              <a:endParaRPr sz="1800"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DD11081-CFE0-4F71-9600-949B5A64F212}"/>
                </a:ext>
              </a:extLst>
            </p:cNvPr>
            <p:cNvSpPr txBox="1"/>
            <p:nvPr/>
          </p:nvSpPr>
          <p:spPr>
            <a:xfrm>
              <a:off x="5058450" y="3822463"/>
              <a:ext cx="1979018" cy="48752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 </a:t>
              </a:r>
              <a:endParaRPr lang="en-US" sz="1600" b="1" dirty="0">
                <a:cs typeface="+mn-ea"/>
                <a:sym typeface="+mn-lt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9ACB3E55-1FF9-42C7-9256-FE2072BBF063}"/>
                </a:ext>
              </a:extLst>
            </p:cNvPr>
            <p:cNvSpPr/>
            <p:nvPr/>
          </p:nvSpPr>
          <p:spPr>
            <a:xfrm>
              <a:off x="4723502" y="1947931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 title="ry6MHxwOH8WsTKLSa514qPVJnvhhWFnRDjZGIbRZNsFBp">
              <a:extLst>
                <a:ext uri="{FF2B5EF4-FFF2-40B4-BE49-F238E27FC236}">
                  <a16:creationId xmlns:a16="http://schemas.microsoft.com/office/drawing/2014/main" id="{EB13F3A4-2D8F-4E95-AB13-25C454CE945C}"/>
                </a:ext>
              </a:extLst>
            </p:cNvPr>
            <p:cNvSpPr/>
            <p:nvPr/>
          </p:nvSpPr>
          <p:spPr bwMode="auto">
            <a:xfrm>
              <a:off x="4887269" y="2163539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6BB9057B-7310-48D2-AD27-5E408995AA98}"/>
                </a:ext>
              </a:extLst>
            </p:cNvPr>
            <p:cNvSpPr/>
            <p:nvPr/>
          </p:nvSpPr>
          <p:spPr>
            <a:xfrm>
              <a:off x="4723502" y="4126642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8BF7D63D-DA05-4ADD-8D9B-92AD2C23D3D0}"/>
                </a:ext>
              </a:extLst>
            </p:cNvPr>
            <p:cNvSpPr/>
            <p:nvPr/>
          </p:nvSpPr>
          <p:spPr>
            <a:xfrm>
              <a:off x="4278567" y="3050564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1" name="任意多边形: 形状 20" title="ry6MHxwOH8WsTKLSa514qPVJnvhhWFnRDjZGIbRZNsFBp">
              <a:extLst>
                <a:ext uri="{FF2B5EF4-FFF2-40B4-BE49-F238E27FC236}">
                  <a16:creationId xmlns:a16="http://schemas.microsoft.com/office/drawing/2014/main" id="{829BA262-AF84-4DA9-AFE0-DF7C86ED3EDB}"/>
                </a:ext>
              </a:extLst>
            </p:cNvPr>
            <p:cNvSpPr/>
            <p:nvPr/>
          </p:nvSpPr>
          <p:spPr bwMode="auto">
            <a:xfrm>
              <a:off x="4887269" y="4342250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0B77D6C7-F662-4F0B-BBE1-C08C8FDD00EA}"/>
                </a:ext>
              </a:extLst>
            </p:cNvPr>
            <p:cNvSpPr/>
            <p:nvPr/>
          </p:nvSpPr>
          <p:spPr>
            <a:xfrm>
              <a:off x="6838917" y="1913577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D754790-A818-4914-AFF2-E1F1AB9D73FD}"/>
                </a:ext>
              </a:extLst>
            </p:cNvPr>
            <p:cNvSpPr/>
            <p:nvPr/>
          </p:nvSpPr>
          <p:spPr>
            <a:xfrm>
              <a:off x="6838917" y="4160996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4" name="任意多边形: 形状 23" title="ry6MHxwOH8WsTKLSa514qPVJnvhhWFnRDjZGIbRZNsFBp">
              <a:extLst>
                <a:ext uri="{FF2B5EF4-FFF2-40B4-BE49-F238E27FC236}">
                  <a16:creationId xmlns:a16="http://schemas.microsoft.com/office/drawing/2014/main" id="{F9548C99-E74E-43F5-857A-053512FEE5BF}"/>
                </a:ext>
              </a:extLst>
            </p:cNvPr>
            <p:cNvSpPr/>
            <p:nvPr/>
          </p:nvSpPr>
          <p:spPr bwMode="auto">
            <a:xfrm>
              <a:off x="7002684" y="2129185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25" name="任意多边形: 形状 24" title="ry6MHxwOH8WsTKLSa514qPVJnvhhWFnRDjZGIbRZNsFBp">
              <a:extLst>
                <a:ext uri="{FF2B5EF4-FFF2-40B4-BE49-F238E27FC236}">
                  <a16:creationId xmlns:a16="http://schemas.microsoft.com/office/drawing/2014/main" id="{BF144A2E-6AA9-4886-A9C9-D3D87CB462C7}"/>
                </a:ext>
              </a:extLst>
            </p:cNvPr>
            <p:cNvSpPr/>
            <p:nvPr/>
          </p:nvSpPr>
          <p:spPr bwMode="auto">
            <a:xfrm>
              <a:off x="4442334" y="3266172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05CE98E9-99EE-4752-B282-420BD05FE8DF}"/>
                </a:ext>
              </a:extLst>
            </p:cNvPr>
            <p:cNvSpPr/>
            <p:nvPr/>
          </p:nvSpPr>
          <p:spPr>
            <a:xfrm>
              <a:off x="7187392" y="3050564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8" name="任意多边形: 形状 27" title="ry6MHxwOH8WsTKLSa514qPVJnvhhWFnRDjZGIbRZNsFBp">
              <a:extLst>
                <a:ext uri="{FF2B5EF4-FFF2-40B4-BE49-F238E27FC236}">
                  <a16:creationId xmlns:a16="http://schemas.microsoft.com/office/drawing/2014/main" id="{C9A27B7A-D05A-4055-B421-237FF24FC4B9}"/>
                </a:ext>
              </a:extLst>
            </p:cNvPr>
            <p:cNvSpPr/>
            <p:nvPr/>
          </p:nvSpPr>
          <p:spPr bwMode="auto">
            <a:xfrm>
              <a:off x="7002684" y="4376604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33" name="任意多边形: 形状 32" title="ry6MHxwOH8WsTKLSa514qPVJnvhhWFnRDjZGIbRZNsFBp">
              <a:extLst>
                <a:ext uri="{FF2B5EF4-FFF2-40B4-BE49-F238E27FC236}">
                  <a16:creationId xmlns:a16="http://schemas.microsoft.com/office/drawing/2014/main" id="{5AB5DDE8-863F-46F8-8FD6-A1108674DCEE}"/>
                </a:ext>
              </a:extLst>
            </p:cNvPr>
            <p:cNvSpPr/>
            <p:nvPr/>
          </p:nvSpPr>
          <p:spPr bwMode="auto">
            <a:xfrm>
              <a:off x="7351159" y="3266172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77F001BF-2CC3-41D8-90D6-CBB2346370D2}"/>
              </a:ext>
            </a:extLst>
          </p:cNvPr>
          <p:cNvSpPr txBox="1"/>
          <p:nvPr/>
        </p:nvSpPr>
        <p:spPr>
          <a:xfrm>
            <a:off x="8041662" y="4427319"/>
            <a:ext cx="3478826" cy="436055"/>
          </a:xfrm>
          <a:prstGeom prst="rect">
            <a:avLst/>
          </a:prstGeom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12975CD4-1A19-4D06-B381-D90C89E5C255}"/>
              </a:ext>
            </a:extLst>
          </p:cNvPr>
          <p:cNvCxnSpPr/>
          <p:nvPr/>
        </p:nvCxnSpPr>
        <p:spPr>
          <a:xfrm>
            <a:off x="8041662" y="2739023"/>
            <a:ext cx="347882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7D345D94-AD2D-4884-B242-D28BFFBA1C7F}"/>
              </a:ext>
            </a:extLst>
          </p:cNvPr>
          <p:cNvCxnSpPr/>
          <p:nvPr/>
        </p:nvCxnSpPr>
        <p:spPr>
          <a:xfrm>
            <a:off x="8041662" y="3826644"/>
            <a:ext cx="347882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70520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0E9A8D-8600-40C7-AB6C-014FA6319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1E84245-4904-41B6-9967-B7FCCE39F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86346B9-F2E3-4104-AD35-9E54EBCC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: 剪去左右顶角 20">
            <a:extLst>
              <a:ext uri="{FF2B5EF4-FFF2-40B4-BE49-F238E27FC236}">
                <a16:creationId xmlns:a16="http://schemas.microsoft.com/office/drawing/2014/main" id="{EA2AA950-9AF9-475F-B56A-D713D2502DA2}"/>
              </a:ext>
            </a:extLst>
          </p:cNvPr>
          <p:cNvSpPr/>
          <p:nvPr/>
        </p:nvSpPr>
        <p:spPr>
          <a:xfrm>
            <a:off x="669925" y="2538776"/>
            <a:ext cx="2908313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6B7210A-C471-4208-A7F7-5CDCAADC55F4}"/>
              </a:ext>
            </a:extLst>
          </p:cNvPr>
          <p:cNvSpPr txBox="1"/>
          <p:nvPr/>
        </p:nvSpPr>
        <p:spPr bwMode="auto">
          <a:xfrm>
            <a:off x="669925" y="2006548"/>
            <a:ext cx="290831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3" name="矩形: 剪去左右顶角 22">
            <a:extLst>
              <a:ext uri="{FF2B5EF4-FFF2-40B4-BE49-F238E27FC236}">
                <a16:creationId xmlns:a16="http://schemas.microsoft.com/office/drawing/2014/main" id="{558116AA-4655-458D-80D7-54B65FDF236B}"/>
              </a:ext>
            </a:extLst>
          </p:cNvPr>
          <p:cNvSpPr/>
          <p:nvPr/>
        </p:nvSpPr>
        <p:spPr>
          <a:xfrm>
            <a:off x="8613763" y="2538776"/>
            <a:ext cx="2906725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0775E38-BB89-43AE-BC8F-650AEAC897E2}"/>
              </a:ext>
            </a:extLst>
          </p:cNvPr>
          <p:cNvSpPr txBox="1"/>
          <p:nvPr/>
        </p:nvSpPr>
        <p:spPr bwMode="auto">
          <a:xfrm>
            <a:off x="8613763" y="2006548"/>
            <a:ext cx="2906725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5" name="矩形: 剪去左右顶角 24">
            <a:extLst>
              <a:ext uri="{FF2B5EF4-FFF2-40B4-BE49-F238E27FC236}">
                <a16:creationId xmlns:a16="http://schemas.microsoft.com/office/drawing/2014/main" id="{7EADAC06-7E0A-4A1A-8F0C-F97C274A03DB}"/>
              </a:ext>
            </a:extLst>
          </p:cNvPr>
          <p:cNvSpPr/>
          <p:nvPr/>
        </p:nvSpPr>
        <p:spPr>
          <a:xfrm>
            <a:off x="669925" y="4729320"/>
            <a:ext cx="2908313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35B14C24-C33F-4940-96C0-DDCA97206244}"/>
              </a:ext>
            </a:extLst>
          </p:cNvPr>
          <p:cNvSpPr txBox="1"/>
          <p:nvPr/>
        </p:nvSpPr>
        <p:spPr bwMode="auto">
          <a:xfrm>
            <a:off x="669925" y="4197092"/>
            <a:ext cx="290831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7" name="矩形: 剪去左右顶角 26">
            <a:extLst>
              <a:ext uri="{FF2B5EF4-FFF2-40B4-BE49-F238E27FC236}">
                <a16:creationId xmlns:a16="http://schemas.microsoft.com/office/drawing/2014/main" id="{F1E6AD87-B30B-4BB9-852D-4647966C781D}"/>
              </a:ext>
            </a:extLst>
          </p:cNvPr>
          <p:cNvSpPr/>
          <p:nvPr/>
        </p:nvSpPr>
        <p:spPr>
          <a:xfrm>
            <a:off x="8613763" y="4729320"/>
            <a:ext cx="2906725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2D72721D-0280-4A12-812B-8B8B581CD280}"/>
              </a:ext>
            </a:extLst>
          </p:cNvPr>
          <p:cNvSpPr txBox="1"/>
          <p:nvPr/>
        </p:nvSpPr>
        <p:spPr bwMode="auto">
          <a:xfrm>
            <a:off x="8613763" y="4197092"/>
            <a:ext cx="2906725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B12E7673-5BB0-4262-A889-1C83C19B59E2}"/>
              </a:ext>
            </a:extLst>
          </p:cNvPr>
          <p:cNvCxnSpPr>
            <a:cxnSpLocks/>
          </p:cNvCxnSpPr>
          <p:nvPr/>
        </p:nvCxnSpPr>
        <p:spPr>
          <a:xfrm>
            <a:off x="669925" y="3694654"/>
            <a:ext cx="3167771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9FF11FA6-0053-4C7C-8789-799C5AF7B205}"/>
              </a:ext>
            </a:extLst>
          </p:cNvPr>
          <p:cNvCxnSpPr>
            <a:cxnSpLocks/>
          </p:cNvCxnSpPr>
          <p:nvPr/>
        </p:nvCxnSpPr>
        <p:spPr>
          <a:xfrm>
            <a:off x="7997757" y="3694654"/>
            <a:ext cx="351504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A9E22AA4-8CFE-F976-6FE3-582185402042}"/>
              </a:ext>
            </a:extLst>
          </p:cNvPr>
          <p:cNvGrpSpPr/>
          <p:nvPr/>
        </p:nvGrpSpPr>
        <p:grpSpPr>
          <a:xfrm>
            <a:off x="3673929" y="1461256"/>
            <a:ext cx="4323828" cy="4523908"/>
            <a:chOff x="3673929" y="1461256"/>
            <a:chExt cx="4323828" cy="4523908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9204C0A4-BB6C-4024-B572-7493DD299E49}"/>
                </a:ext>
              </a:extLst>
            </p:cNvPr>
            <p:cNvSpPr/>
            <p:nvPr/>
          </p:nvSpPr>
          <p:spPr bwMode="auto">
            <a:xfrm>
              <a:off x="4029078" y="2044701"/>
              <a:ext cx="3617488" cy="3357020"/>
            </a:xfrm>
            <a:prstGeom prst="roundRect">
              <a:avLst>
                <a:gd name="adj" fmla="val 8359"/>
              </a:avLst>
            </a:prstGeom>
            <a:noFill/>
            <a:ln w="5715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0B79165-87CA-4553-9270-6F880FBC9011}"/>
                </a:ext>
              </a:extLst>
            </p:cNvPr>
            <p:cNvSpPr/>
            <p:nvPr/>
          </p:nvSpPr>
          <p:spPr bwMode="auto">
            <a:xfrm>
              <a:off x="4740128" y="1477323"/>
              <a:ext cx="2195394" cy="4490627"/>
            </a:xfrm>
            <a:custGeom>
              <a:avLst/>
              <a:gdLst>
                <a:gd name="T0" fmla="*/ 947 w 8436"/>
                <a:gd name="T1" fmla="*/ 17255 h 17256"/>
                <a:gd name="T2" fmla="*/ 0 w 8436"/>
                <a:gd name="T3" fmla="*/ 16308 h 17256"/>
                <a:gd name="T4" fmla="*/ 0 w 8436"/>
                <a:gd name="T5" fmla="*/ 947 h 17256"/>
                <a:gd name="T6" fmla="*/ 947 w 8436"/>
                <a:gd name="T7" fmla="*/ 0 h 17256"/>
                <a:gd name="T8" fmla="*/ 7488 w 8436"/>
                <a:gd name="T9" fmla="*/ 0 h 17256"/>
                <a:gd name="T10" fmla="*/ 8435 w 8436"/>
                <a:gd name="T11" fmla="*/ 947 h 17256"/>
                <a:gd name="T12" fmla="*/ 8435 w 8436"/>
                <a:gd name="T13" fmla="*/ 16308 h 17256"/>
                <a:gd name="T14" fmla="*/ 7488 w 8436"/>
                <a:gd name="T15" fmla="*/ 17255 h 17256"/>
                <a:gd name="T16" fmla="*/ 947 w 8436"/>
                <a:gd name="T17" fmla="*/ 17255 h 172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436"/>
                <a:gd name="T28" fmla="*/ 0 h 17256"/>
                <a:gd name="T29" fmla="*/ 8436 w 8436"/>
                <a:gd name="T30" fmla="*/ 17256 h 1725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436" h="17256">
                  <a:moveTo>
                    <a:pt x="947" y="17255"/>
                  </a:moveTo>
                  <a:cubicBezTo>
                    <a:pt x="425" y="17255"/>
                    <a:pt x="0" y="16831"/>
                    <a:pt x="0" y="16308"/>
                  </a:cubicBezTo>
                  <a:lnTo>
                    <a:pt x="0" y="947"/>
                  </a:lnTo>
                  <a:cubicBezTo>
                    <a:pt x="0" y="425"/>
                    <a:pt x="425" y="0"/>
                    <a:pt x="947" y="0"/>
                  </a:cubicBezTo>
                  <a:lnTo>
                    <a:pt x="7488" y="0"/>
                  </a:lnTo>
                  <a:cubicBezTo>
                    <a:pt x="8010" y="0"/>
                    <a:pt x="8435" y="425"/>
                    <a:pt x="8435" y="947"/>
                  </a:cubicBezTo>
                  <a:lnTo>
                    <a:pt x="8435" y="16308"/>
                  </a:lnTo>
                  <a:cubicBezTo>
                    <a:pt x="8435" y="16831"/>
                    <a:pt x="8010" y="17255"/>
                    <a:pt x="7488" y="17255"/>
                  </a:cubicBezTo>
                  <a:lnTo>
                    <a:pt x="947" y="172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80ACAF2-F93F-4527-B370-777DB6600714}"/>
                </a:ext>
              </a:extLst>
            </p:cNvPr>
            <p:cNvSpPr/>
            <p:nvPr/>
          </p:nvSpPr>
          <p:spPr bwMode="auto">
            <a:xfrm>
              <a:off x="4714878" y="1461256"/>
              <a:ext cx="2245888" cy="4523908"/>
            </a:xfrm>
            <a:custGeom>
              <a:avLst/>
              <a:gdLst>
                <a:gd name="T0" fmla="*/ 8594 w 8630"/>
                <a:gd name="T1" fmla="*/ 3320 h 17382"/>
                <a:gd name="T2" fmla="*/ 8596 w 8630"/>
                <a:gd name="T3" fmla="*/ 3320 h 17382"/>
                <a:gd name="T4" fmla="*/ 8629 w 8630"/>
                <a:gd name="T5" fmla="*/ 3353 h 17382"/>
                <a:gd name="T6" fmla="*/ 8629 w 8630"/>
                <a:gd name="T7" fmla="*/ 4419 h 17382"/>
                <a:gd name="T8" fmla="*/ 8596 w 8630"/>
                <a:gd name="T9" fmla="*/ 4452 h 17382"/>
                <a:gd name="T10" fmla="*/ 8594 w 8630"/>
                <a:gd name="T11" fmla="*/ 4452 h 17382"/>
                <a:gd name="T12" fmla="*/ 8594 w 8630"/>
                <a:gd name="T13" fmla="*/ 16371 h 17382"/>
                <a:gd name="T14" fmla="*/ 7584 w 8630"/>
                <a:gd name="T15" fmla="*/ 17381 h 17382"/>
                <a:gd name="T16" fmla="*/ 1043 w 8630"/>
                <a:gd name="T17" fmla="*/ 17381 h 17382"/>
                <a:gd name="T18" fmla="*/ 33 w 8630"/>
                <a:gd name="T19" fmla="*/ 16371 h 17382"/>
                <a:gd name="T20" fmla="*/ 33 w 8630"/>
                <a:gd name="T21" fmla="*/ 5859 h 17382"/>
                <a:gd name="T22" fmla="*/ 33 w 8630"/>
                <a:gd name="T23" fmla="*/ 5859 h 17382"/>
                <a:gd name="T24" fmla="*/ 0 w 8630"/>
                <a:gd name="T25" fmla="*/ 5826 h 17382"/>
                <a:gd name="T26" fmla="*/ 0 w 8630"/>
                <a:gd name="T27" fmla="*/ 4760 h 17382"/>
                <a:gd name="T28" fmla="*/ 33 w 8630"/>
                <a:gd name="T29" fmla="*/ 4727 h 17382"/>
                <a:gd name="T30" fmla="*/ 33 w 8630"/>
                <a:gd name="T31" fmla="*/ 4727 h 17382"/>
                <a:gd name="T32" fmla="*/ 33 w 8630"/>
                <a:gd name="T33" fmla="*/ 4452 h 17382"/>
                <a:gd name="T34" fmla="*/ 33 w 8630"/>
                <a:gd name="T35" fmla="*/ 4452 h 17382"/>
                <a:gd name="T36" fmla="*/ 0 w 8630"/>
                <a:gd name="T37" fmla="*/ 4419 h 17382"/>
                <a:gd name="T38" fmla="*/ 0 w 8630"/>
                <a:gd name="T39" fmla="*/ 3353 h 17382"/>
                <a:gd name="T40" fmla="*/ 33 w 8630"/>
                <a:gd name="T41" fmla="*/ 3320 h 17382"/>
                <a:gd name="T42" fmla="*/ 33 w 8630"/>
                <a:gd name="T43" fmla="*/ 3320 h 17382"/>
                <a:gd name="T44" fmla="*/ 33 w 8630"/>
                <a:gd name="T45" fmla="*/ 2704 h 17382"/>
                <a:gd name="T46" fmla="*/ 33 w 8630"/>
                <a:gd name="T47" fmla="*/ 2704 h 17382"/>
                <a:gd name="T48" fmla="*/ 0 w 8630"/>
                <a:gd name="T49" fmla="*/ 2672 h 17382"/>
                <a:gd name="T50" fmla="*/ 0 w 8630"/>
                <a:gd name="T51" fmla="*/ 2075 h 17382"/>
                <a:gd name="T52" fmla="*/ 33 w 8630"/>
                <a:gd name="T53" fmla="*/ 2042 h 17382"/>
                <a:gd name="T54" fmla="*/ 33 w 8630"/>
                <a:gd name="T55" fmla="*/ 2042 h 17382"/>
                <a:gd name="T56" fmla="*/ 33 w 8630"/>
                <a:gd name="T57" fmla="*/ 1010 h 17382"/>
                <a:gd name="T58" fmla="*/ 1043 w 8630"/>
                <a:gd name="T59" fmla="*/ 0 h 17382"/>
                <a:gd name="T60" fmla="*/ 7584 w 8630"/>
                <a:gd name="T61" fmla="*/ 0 h 17382"/>
                <a:gd name="T62" fmla="*/ 8594 w 8630"/>
                <a:gd name="T63" fmla="*/ 1010 h 17382"/>
                <a:gd name="T64" fmla="*/ 8594 w 8630"/>
                <a:gd name="T65" fmla="*/ 3320 h 173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30"/>
                <a:gd name="T100" fmla="*/ 0 h 17382"/>
                <a:gd name="T101" fmla="*/ 8630 w 8630"/>
                <a:gd name="T102" fmla="*/ 17382 h 173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30" h="17382">
                  <a:moveTo>
                    <a:pt x="8594" y="3320"/>
                  </a:moveTo>
                  <a:lnTo>
                    <a:pt x="8596" y="3320"/>
                  </a:lnTo>
                  <a:cubicBezTo>
                    <a:pt x="8614" y="3320"/>
                    <a:pt x="8629" y="3335"/>
                    <a:pt x="8629" y="3353"/>
                  </a:cubicBezTo>
                  <a:lnTo>
                    <a:pt x="8629" y="4419"/>
                  </a:lnTo>
                  <a:cubicBezTo>
                    <a:pt x="8629" y="4438"/>
                    <a:pt x="8614" y="4452"/>
                    <a:pt x="8596" y="4452"/>
                  </a:cubicBezTo>
                  <a:lnTo>
                    <a:pt x="8594" y="4452"/>
                  </a:lnTo>
                  <a:lnTo>
                    <a:pt x="8594" y="16371"/>
                  </a:lnTo>
                  <a:cubicBezTo>
                    <a:pt x="8594" y="16928"/>
                    <a:pt x="8141" y="17381"/>
                    <a:pt x="7584" y="17381"/>
                  </a:cubicBezTo>
                  <a:lnTo>
                    <a:pt x="1043" y="17381"/>
                  </a:lnTo>
                  <a:cubicBezTo>
                    <a:pt x="487" y="17381"/>
                    <a:pt x="33" y="16928"/>
                    <a:pt x="33" y="16371"/>
                  </a:cubicBezTo>
                  <a:lnTo>
                    <a:pt x="33" y="5859"/>
                  </a:lnTo>
                  <a:cubicBezTo>
                    <a:pt x="15" y="5859"/>
                    <a:pt x="0" y="5844"/>
                    <a:pt x="0" y="5826"/>
                  </a:cubicBezTo>
                  <a:lnTo>
                    <a:pt x="0" y="4760"/>
                  </a:lnTo>
                  <a:cubicBezTo>
                    <a:pt x="0" y="4741"/>
                    <a:pt x="15" y="4727"/>
                    <a:pt x="33" y="4727"/>
                  </a:cubicBezTo>
                  <a:lnTo>
                    <a:pt x="33" y="4452"/>
                  </a:lnTo>
                  <a:cubicBezTo>
                    <a:pt x="15" y="4452"/>
                    <a:pt x="0" y="4438"/>
                    <a:pt x="0" y="4419"/>
                  </a:cubicBezTo>
                  <a:lnTo>
                    <a:pt x="0" y="3353"/>
                  </a:lnTo>
                  <a:cubicBezTo>
                    <a:pt x="0" y="3335"/>
                    <a:pt x="15" y="3320"/>
                    <a:pt x="33" y="3320"/>
                  </a:cubicBezTo>
                  <a:lnTo>
                    <a:pt x="33" y="2704"/>
                  </a:lnTo>
                  <a:cubicBezTo>
                    <a:pt x="15" y="2704"/>
                    <a:pt x="0" y="2690"/>
                    <a:pt x="0" y="2672"/>
                  </a:cubicBezTo>
                  <a:lnTo>
                    <a:pt x="0" y="2075"/>
                  </a:lnTo>
                  <a:cubicBezTo>
                    <a:pt x="0" y="2057"/>
                    <a:pt x="15" y="2042"/>
                    <a:pt x="33" y="2042"/>
                  </a:cubicBezTo>
                  <a:lnTo>
                    <a:pt x="33" y="1010"/>
                  </a:lnTo>
                  <a:cubicBezTo>
                    <a:pt x="33" y="453"/>
                    <a:pt x="487" y="0"/>
                    <a:pt x="1043" y="0"/>
                  </a:cubicBezTo>
                  <a:lnTo>
                    <a:pt x="7584" y="0"/>
                  </a:lnTo>
                  <a:cubicBezTo>
                    <a:pt x="8141" y="0"/>
                    <a:pt x="8594" y="453"/>
                    <a:pt x="8594" y="1010"/>
                  </a:cubicBezTo>
                  <a:lnTo>
                    <a:pt x="8594" y="332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5C315E5-66E4-471E-8C69-6A414AB816F9}"/>
                </a:ext>
              </a:extLst>
            </p:cNvPr>
            <p:cNvSpPr/>
            <p:nvPr/>
          </p:nvSpPr>
          <p:spPr bwMode="auto">
            <a:xfrm>
              <a:off x="5489522" y="1705698"/>
              <a:ext cx="67710" cy="67710"/>
            </a:xfrm>
            <a:custGeom>
              <a:avLst/>
              <a:gdLst>
                <a:gd name="T0" fmla="*/ 130 w 260"/>
                <a:gd name="T1" fmla="*/ 260 h 261"/>
                <a:gd name="T2" fmla="*/ 0 w 260"/>
                <a:gd name="T3" fmla="*/ 130 h 261"/>
                <a:gd name="T4" fmla="*/ 130 w 260"/>
                <a:gd name="T5" fmla="*/ 0 h 261"/>
                <a:gd name="T6" fmla="*/ 259 w 260"/>
                <a:gd name="T7" fmla="*/ 130 h 261"/>
                <a:gd name="T8" fmla="*/ 130 w 260"/>
                <a:gd name="T9" fmla="*/ 260 h 2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0"/>
                <a:gd name="T16" fmla="*/ 0 h 261"/>
                <a:gd name="T17" fmla="*/ 260 w 260"/>
                <a:gd name="T18" fmla="*/ 261 h 2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0" h="261">
                  <a:moveTo>
                    <a:pt x="130" y="260"/>
                  </a:moveTo>
                  <a:cubicBezTo>
                    <a:pt x="58" y="260"/>
                    <a:pt x="0" y="202"/>
                    <a:pt x="0" y="130"/>
                  </a:cubicBezTo>
                  <a:cubicBezTo>
                    <a:pt x="0" y="58"/>
                    <a:pt x="58" y="0"/>
                    <a:pt x="130" y="0"/>
                  </a:cubicBezTo>
                  <a:cubicBezTo>
                    <a:pt x="201" y="0"/>
                    <a:pt x="259" y="58"/>
                    <a:pt x="259" y="130"/>
                  </a:cubicBezTo>
                  <a:cubicBezTo>
                    <a:pt x="259" y="202"/>
                    <a:pt x="201" y="260"/>
                    <a:pt x="130" y="2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AC70CF8A-FE8A-4B49-92F9-70C4A06B8AA6}"/>
                </a:ext>
              </a:extLst>
            </p:cNvPr>
            <p:cNvSpPr/>
            <p:nvPr/>
          </p:nvSpPr>
          <p:spPr bwMode="auto">
            <a:xfrm>
              <a:off x="5810856" y="1582903"/>
              <a:ext cx="49348" cy="49347"/>
            </a:xfrm>
            <a:custGeom>
              <a:avLst/>
              <a:gdLst>
                <a:gd name="T0" fmla="*/ 95 w 191"/>
                <a:gd name="T1" fmla="*/ 190 h 191"/>
                <a:gd name="T2" fmla="*/ 0 w 191"/>
                <a:gd name="T3" fmla="*/ 95 h 191"/>
                <a:gd name="T4" fmla="*/ 95 w 191"/>
                <a:gd name="T5" fmla="*/ 0 h 191"/>
                <a:gd name="T6" fmla="*/ 190 w 191"/>
                <a:gd name="T7" fmla="*/ 95 h 191"/>
                <a:gd name="T8" fmla="*/ 95 w 191"/>
                <a:gd name="T9" fmla="*/ 190 h 1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1"/>
                <a:gd name="T16" fmla="*/ 0 h 191"/>
                <a:gd name="T17" fmla="*/ 191 w 191"/>
                <a:gd name="T18" fmla="*/ 191 h 1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1" h="191">
                  <a:moveTo>
                    <a:pt x="95" y="190"/>
                  </a:moveTo>
                  <a:cubicBezTo>
                    <a:pt x="42" y="190"/>
                    <a:pt x="0" y="147"/>
                    <a:pt x="0" y="95"/>
                  </a:cubicBezTo>
                  <a:cubicBezTo>
                    <a:pt x="0" y="43"/>
                    <a:pt x="42" y="0"/>
                    <a:pt x="95" y="0"/>
                  </a:cubicBezTo>
                  <a:cubicBezTo>
                    <a:pt x="147" y="0"/>
                    <a:pt x="190" y="43"/>
                    <a:pt x="190" y="95"/>
                  </a:cubicBezTo>
                  <a:cubicBezTo>
                    <a:pt x="190" y="147"/>
                    <a:pt x="147" y="190"/>
                    <a:pt x="95" y="19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0C501AC-8BC6-43F5-BF21-F8413CF79CA1}"/>
                </a:ext>
              </a:extLst>
            </p:cNvPr>
            <p:cNvSpPr/>
            <p:nvPr/>
          </p:nvSpPr>
          <p:spPr bwMode="auto">
            <a:xfrm>
              <a:off x="5677732" y="1724060"/>
              <a:ext cx="314448" cy="33281"/>
            </a:xfrm>
            <a:custGeom>
              <a:avLst/>
              <a:gdLst>
                <a:gd name="T0" fmla="*/ 1143 w 1209"/>
                <a:gd name="T1" fmla="*/ 129 h 130"/>
                <a:gd name="T2" fmla="*/ 64 w 1209"/>
                <a:gd name="T3" fmla="*/ 129 h 130"/>
                <a:gd name="T4" fmla="*/ 0 w 1209"/>
                <a:gd name="T5" fmla="*/ 65 h 130"/>
                <a:gd name="T6" fmla="*/ 64 w 1209"/>
                <a:gd name="T7" fmla="*/ 0 h 130"/>
                <a:gd name="T8" fmla="*/ 1143 w 1209"/>
                <a:gd name="T9" fmla="*/ 0 h 130"/>
                <a:gd name="T10" fmla="*/ 1208 w 1209"/>
                <a:gd name="T11" fmla="*/ 65 h 130"/>
                <a:gd name="T12" fmla="*/ 1143 w 1209"/>
                <a:gd name="T13" fmla="*/ 129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9"/>
                <a:gd name="T22" fmla="*/ 0 h 130"/>
                <a:gd name="T23" fmla="*/ 1209 w 1209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9" h="130">
                  <a:moveTo>
                    <a:pt x="1143" y="129"/>
                  </a:moveTo>
                  <a:lnTo>
                    <a:pt x="64" y="129"/>
                  </a:lnTo>
                  <a:cubicBezTo>
                    <a:pt x="29" y="129"/>
                    <a:pt x="0" y="100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lnTo>
                    <a:pt x="1143" y="0"/>
                  </a:lnTo>
                  <a:cubicBezTo>
                    <a:pt x="1179" y="0"/>
                    <a:pt x="1208" y="29"/>
                    <a:pt x="1208" y="65"/>
                  </a:cubicBezTo>
                  <a:cubicBezTo>
                    <a:pt x="1208" y="100"/>
                    <a:pt x="1179" y="129"/>
                    <a:pt x="1143" y="12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6D3B14F6-6261-45B0-A062-23EED7CFDE3C}"/>
                </a:ext>
              </a:extLst>
            </p:cNvPr>
            <p:cNvSpPr/>
            <p:nvPr/>
          </p:nvSpPr>
          <p:spPr bwMode="auto">
            <a:xfrm>
              <a:off x="5681175" y="5561693"/>
              <a:ext cx="308709" cy="308709"/>
            </a:xfrm>
            <a:custGeom>
              <a:avLst/>
              <a:gdLst>
                <a:gd name="T0" fmla="*/ 84 w 1187"/>
                <a:gd name="T1" fmla="*/ 593 h 1186"/>
                <a:gd name="T2" fmla="*/ 593 w 1187"/>
                <a:gd name="T3" fmla="*/ 1102 h 1186"/>
                <a:gd name="T4" fmla="*/ 1102 w 1187"/>
                <a:gd name="T5" fmla="*/ 593 h 1186"/>
                <a:gd name="T6" fmla="*/ 593 w 1187"/>
                <a:gd name="T7" fmla="*/ 83 h 1186"/>
                <a:gd name="T8" fmla="*/ 84 w 1187"/>
                <a:gd name="T9" fmla="*/ 593 h 1186"/>
                <a:gd name="T10" fmla="*/ 0 w 1187"/>
                <a:gd name="T11" fmla="*/ 593 h 1186"/>
                <a:gd name="T12" fmla="*/ 593 w 1187"/>
                <a:gd name="T13" fmla="*/ 0 h 1186"/>
                <a:gd name="T14" fmla="*/ 1186 w 1187"/>
                <a:gd name="T15" fmla="*/ 593 h 1186"/>
                <a:gd name="T16" fmla="*/ 593 w 1187"/>
                <a:gd name="T17" fmla="*/ 1185 h 1186"/>
                <a:gd name="T18" fmla="*/ 0 w 1187"/>
                <a:gd name="T19" fmla="*/ 593 h 118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7"/>
                <a:gd name="T31" fmla="*/ 0 h 1186"/>
                <a:gd name="T32" fmla="*/ 1187 w 1187"/>
                <a:gd name="T33" fmla="*/ 1186 h 118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7" h="1186">
                  <a:moveTo>
                    <a:pt x="84" y="593"/>
                  </a:moveTo>
                  <a:cubicBezTo>
                    <a:pt x="84" y="874"/>
                    <a:pt x="312" y="1102"/>
                    <a:pt x="593" y="1102"/>
                  </a:cubicBezTo>
                  <a:cubicBezTo>
                    <a:pt x="874" y="1102"/>
                    <a:pt x="1102" y="874"/>
                    <a:pt x="1102" y="593"/>
                  </a:cubicBezTo>
                  <a:cubicBezTo>
                    <a:pt x="1102" y="312"/>
                    <a:pt x="874" y="83"/>
                    <a:pt x="593" y="83"/>
                  </a:cubicBezTo>
                  <a:cubicBezTo>
                    <a:pt x="312" y="83"/>
                    <a:pt x="84" y="312"/>
                    <a:pt x="84" y="593"/>
                  </a:cubicBezTo>
                  <a:close/>
                  <a:moveTo>
                    <a:pt x="0" y="593"/>
                  </a:moveTo>
                  <a:cubicBezTo>
                    <a:pt x="0" y="266"/>
                    <a:pt x="266" y="0"/>
                    <a:pt x="593" y="0"/>
                  </a:cubicBezTo>
                  <a:cubicBezTo>
                    <a:pt x="920" y="0"/>
                    <a:pt x="1186" y="266"/>
                    <a:pt x="1186" y="593"/>
                  </a:cubicBezTo>
                  <a:cubicBezTo>
                    <a:pt x="1186" y="920"/>
                    <a:pt x="920" y="1185"/>
                    <a:pt x="593" y="1185"/>
                  </a:cubicBezTo>
                  <a:cubicBezTo>
                    <a:pt x="266" y="1185"/>
                    <a:pt x="0" y="920"/>
                    <a:pt x="0" y="59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bevel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1F667979-E1BF-4C1F-9449-45FED1ABDF5F}"/>
                </a:ext>
              </a:extLst>
            </p:cNvPr>
            <p:cNvSpPr/>
            <p:nvPr/>
          </p:nvSpPr>
          <p:spPr>
            <a:xfrm>
              <a:off x="3673929" y="2485328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4" name="任意多边形: 形状 13" title="ry6MHxwOH8WsTKLSa514qPVJnvhhWFnRDjZGIbRZNsFBp">
              <a:extLst>
                <a:ext uri="{FF2B5EF4-FFF2-40B4-BE49-F238E27FC236}">
                  <a16:creationId xmlns:a16="http://schemas.microsoft.com/office/drawing/2014/main" id="{4219F7F1-2376-4000-ABCE-4E97562777B9}"/>
                </a:ext>
              </a:extLst>
            </p:cNvPr>
            <p:cNvSpPr/>
            <p:nvPr/>
          </p:nvSpPr>
          <p:spPr bwMode="auto">
            <a:xfrm>
              <a:off x="3837696" y="2700935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2AFB94C-A9C0-4A67-930F-3C4D5F02F2B7}"/>
                </a:ext>
              </a:extLst>
            </p:cNvPr>
            <p:cNvSpPr/>
            <p:nvPr/>
          </p:nvSpPr>
          <p:spPr>
            <a:xfrm>
              <a:off x="7295374" y="2485328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 title="ry6MHxwOH8WsTKLSa514qPVJnvhhWFnRDjZGIbRZNsFBp">
              <a:extLst>
                <a:ext uri="{FF2B5EF4-FFF2-40B4-BE49-F238E27FC236}">
                  <a16:creationId xmlns:a16="http://schemas.microsoft.com/office/drawing/2014/main" id="{269F07D4-F90A-496A-B0A7-B61EBC6B256A}"/>
                </a:ext>
              </a:extLst>
            </p:cNvPr>
            <p:cNvSpPr/>
            <p:nvPr/>
          </p:nvSpPr>
          <p:spPr bwMode="auto">
            <a:xfrm>
              <a:off x="7459141" y="2700935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64930717-0C9F-483F-A324-CA795D00D14D}"/>
                </a:ext>
              </a:extLst>
            </p:cNvPr>
            <p:cNvSpPr/>
            <p:nvPr/>
          </p:nvSpPr>
          <p:spPr>
            <a:xfrm>
              <a:off x="3673929" y="4201601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 title="ry6MHxwOH8WsTKLSa514qPVJnvhhWFnRDjZGIbRZNsFBp">
              <a:extLst>
                <a:ext uri="{FF2B5EF4-FFF2-40B4-BE49-F238E27FC236}">
                  <a16:creationId xmlns:a16="http://schemas.microsoft.com/office/drawing/2014/main" id="{B3A7939B-04A3-4D9E-B4C1-CB3E8E83E6E0}"/>
                </a:ext>
              </a:extLst>
            </p:cNvPr>
            <p:cNvSpPr/>
            <p:nvPr/>
          </p:nvSpPr>
          <p:spPr bwMode="auto">
            <a:xfrm>
              <a:off x="3837696" y="4417208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971EA5F8-6956-4E54-8B21-08D628C392F1}"/>
                </a:ext>
              </a:extLst>
            </p:cNvPr>
            <p:cNvSpPr/>
            <p:nvPr/>
          </p:nvSpPr>
          <p:spPr>
            <a:xfrm>
              <a:off x="7295374" y="4201601"/>
              <a:ext cx="702383" cy="70237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 sz="16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任意多边形: 形状 19" title="ry6MHxwOH8WsTKLSa514qPVJnvhhWFnRDjZGIbRZNsFBp">
              <a:extLst>
                <a:ext uri="{FF2B5EF4-FFF2-40B4-BE49-F238E27FC236}">
                  <a16:creationId xmlns:a16="http://schemas.microsoft.com/office/drawing/2014/main" id="{E7C5BB4C-524A-486C-B403-092656A029BA}"/>
                </a:ext>
              </a:extLst>
            </p:cNvPr>
            <p:cNvSpPr/>
            <p:nvPr/>
          </p:nvSpPr>
          <p:spPr bwMode="auto">
            <a:xfrm>
              <a:off x="7459141" y="4417208"/>
              <a:ext cx="374838" cy="271155"/>
            </a:xfrm>
            <a:custGeom>
              <a:avLst/>
              <a:gdLst>
                <a:gd name="connsiteX0" fmla="*/ 0 w 608697"/>
                <a:gd name="connsiteY0" fmla="*/ 384511 h 440328"/>
                <a:gd name="connsiteX1" fmla="*/ 273317 w 608697"/>
                <a:gd name="connsiteY1" fmla="*/ 384511 h 440328"/>
                <a:gd name="connsiteX2" fmla="*/ 273317 w 608697"/>
                <a:gd name="connsiteY2" fmla="*/ 415512 h 440328"/>
                <a:gd name="connsiteX3" fmla="*/ 335380 w 608697"/>
                <a:gd name="connsiteY3" fmla="*/ 415512 h 440328"/>
                <a:gd name="connsiteX4" fmla="*/ 335380 w 608697"/>
                <a:gd name="connsiteY4" fmla="*/ 384511 h 440328"/>
                <a:gd name="connsiteX5" fmla="*/ 608697 w 608697"/>
                <a:gd name="connsiteY5" fmla="*/ 384511 h 440328"/>
                <a:gd name="connsiteX6" fmla="*/ 608697 w 608697"/>
                <a:gd name="connsiteY6" fmla="*/ 415512 h 440328"/>
                <a:gd name="connsiteX7" fmla="*/ 583857 w 608697"/>
                <a:gd name="connsiteY7" fmla="*/ 440328 h 440328"/>
                <a:gd name="connsiteX8" fmla="*/ 24840 w 608697"/>
                <a:gd name="connsiteY8" fmla="*/ 440328 h 440328"/>
                <a:gd name="connsiteX9" fmla="*/ 0 w 608697"/>
                <a:gd name="connsiteY9" fmla="*/ 415512 h 440328"/>
                <a:gd name="connsiteX10" fmla="*/ 216210 w 608697"/>
                <a:gd name="connsiteY10" fmla="*/ 86798 h 440328"/>
                <a:gd name="connsiteX11" fmla="*/ 269323 w 608697"/>
                <a:gd name="connsiteY11" fmla="*/ 179836 h 440328"/>
                <a:gd name="connsiteX12" fmla="*/ 236052 w 608697"/>
                <a:gd name="connsiteY12" fmla="*/ 179836 h 440328"/>
                <a:gd name="connsiteX13" fmla="*/ 236052 w 608697"/>
                <a:gd name="connsiteY13" fmla="*/ 210824 h 440328"/>
                <a:gd name="connsiteX14" fmla="*/ 285734 w 608697"/>
                <a:gd name="connsiteY14" fmla="*/ 210824 h 440328"/>
                <a:gd name="connsiteX15" fmla="*/ 285734 w 608697"/>
                <a:gd name="connsiteY15" fmla="*/ 235629 h 440328"/>
                <a:gd name="connsiteX16" fmla="*/ 236052 w 608697"/>
                <a:gd name="connsiteY16" fmla="*/ 235629 h 440328"/>
                <a:gd name="connsiteX17" fmla="*/ 236052 w 608697"/>
                <a:gd name="connsiteY17" fmla="*/ 260434 h 440328"/>
                <a:gd name="connsiteX18" fmla="*/ 285734 w 608697"/>
                <a:gd name="connsiteY18" fmla="*/ 260434 h 440328"/>
                <a:gd name="connsiteX19" fmla="*/ 285734 w 608697"/>
                <a:gd name="connsiteY19" fmla="*/ 285239 h 440328"/>
                <a:gd name="connsiteX20" fmla="*/ 323033 w 608697"/>
                <a:gd name="connsiteY20" fmla="*/ 285239 h 440328"/>
                <a:gd name="connsiteX21" fmla="*/ 323033 w 608697"/>
                <a:gd name="connsiteY21" fmla="*/ 260434 h 440328"/>
                <a:gd name="connsiteX22" fmla="*/ 372715 w 608697"/>
                <a:gd name="connsiteY22" fmla="*/ 260434 h 440328"/>
                <a:gd name="connsiteX23" fmla="*/ 372715 w 608697"/>
                <a:gd name="connsiteY23" fmla="*/ 235629 h 440328"/>
                <a:gd name="connsiteX24" fmla="*/ 323033 w 608697"/>
                <a:gd name="connsiteY24" fmla="*/ 235629 h 440328"/>
                <a:gd name="connsiteX25" fmla="*/ 323033 w 608697"/>
                <a:gd name="connsiteY25" fmla="*/ 210824 h 440328"/>
                <a:gd name="connsiteX26" fmla="*/ 372715 w 608697"/>
                <a:gd name="connsiteY26" fmla="*/ 210824 h 440328"/>
                <a:gd name="connsiteX27" fmla="*/ 372715 w 608697"/>
                <a:gd name="connsiteY27" fmla="*/ 179836 h 440328"/>
                <a:gd name="connsiteX28" fmla="*/ 339444 w 608697"/>
                <a:gd name="connsiteY28" fmla="*/ 179836 h 440328"/>
                <a:gd name="connsiteX29" fmla="*/ 392558 w 608697"/>
                <a:gd name="connsiteY29" fmla="*/ 86798 h 440328"/>
                <a:gd name="connsiteX30" fmla="*/ 348993 w 608697"/>
                <a:gd name="connsiteY30" fmla="*/ 86798 h 440328"/>
                <a:gd name="connsiteX31" fmla="*/ 304831 w 608697"/>
                <a:gd name="connsiteY31" fmla="*/ 167396 h 440328"/>
                <a:gd name="connsiteX32" fmla="*/ 303936 w 608697"/>
                <a:gd name="connsiteY32" fmla="*/ 167396 h 440328"/>
                <a:gd name="connsiteX33" fmla="*/ 259849 w 608697"/>
                <a:gd name="connsiteY33" fmla="*/ 86798 h 440328"/>
                <a:gd name="connsiteX34" fmla="*/ 87007 w 608697"/>
                <a:gd name="connsiteY34" fmla="*/ 37188 h 440328"/>
                <a:gd name="connsiteX35" fmla="*/ 521760 w 608697"/>
                <a:gd name="connsiteY35" fmla="*/ 37188 h 440328"/>
                <a:gd name="connsiteX36" fmla="*/ 521760 w 608697"/>
                <a:gd name="connsiteY36" fmla="*/ 322484 h 440328"/>
                <a:gd name="connsiteX37" fmla="*/ 87007 w 608697"/>
                <a:gd name="connsiteY37" fmla="*/ 322484 h 440328"/>
                <a:gd name="connsiteX38" fmla="*/ 74518 w 608697"/>
                <a:gd name="connsiteY38" fmla="*/ 24802 h 440328"/>
                <a:gd name="connsiteX39" fmla="*/ 74518 w 608697"/>
                <a:gd name="connsiteY39" fmla="*/ 334870 h 440328"/>
                <a:gd name="connsiteX40" fmla="*/ 534179 w 608697"/>
                <a:gd name="connsiteY40" fmla="*/ 334870 h 440328"/>
                <a:gd name="connsiteX41" fmla="*/ 534179 w 608697"/>
                <a:gd name="connsiteY41" fmla="*/ 24802 h 440328"/>
                <a:gd name="connsiteX42" fmla="*/ 74518 w 608697"/>
                <a:gd name="connsiteY42" fmla="*/ 0 h 440328"/>
                <a:gd name="connsiteX43" fmla="*/ 534179 w 608697"/>
                <a:gd name="connsiteY43" fmla="*/ 0 h 440328"/>
                <a:gd name="connsiteX44" fmla="*/ 559019 w 608697"/>
                <a:gd name="connsiteY44" fmla="*/ 24802 h 440328"/>
                <a:gd name="connsiteX45" fmla="*/ 559019 w 608697"/>
                <a:gd name="connsiteY45" fmla="*/ 359672 h 440328"/>
                <a:gd name="connsiteX46" fmla="*/ 49678 w 608697"/>
                <a:gd name="connsiteY46" fmla="*/ 359672 h 440328"/>
                <a:gd name="connsiteX47" fmla="*/ 49678 w 608697"/>
                <a:gd name="connsiteY47" fmla="*/ 24802 h 440328"/>
                <a:gd name="connsiteX48" fmla="*/ 74518 w 608697"/>
                <a:gd name="connsiteY48" fmla="*/ 0 h 440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8697" h="440328">
                  <a:moveTo>
                    <a:pt x="0" y="384511"/>
                  </a:moveTo>
                  <a:lnTo>
                    <a:pt x="273317" y="384511"/>
                  </a:lnTo>
                  <a:lnTo>
                    <a:pt x="273317" y="415512"/>
                  </a:lnTo>
                  <a:lnTo>
                    <a:pt x="335380" y="415512"/>
                  </a:lnTo>
                  <a:lnTo>
                    <a:pt x="335380" y="384511"/>
                  </a:lnTo>
                  <a:lnTo>
                    <a:pt x="608697" y="384511"/>
                  </a:lnTo>
                  <a:lnTo>
                    <a:pt x="608697" y="415512"/>
                  </a:lnTo>
                  <a:cubicBezTo>
                    <a:pt x="608697" y="429150"/>
                    <a:pt x="597508" y="440328"/>
                    <a:pt x="583857" y="440328"/>
                  </a:cubicBezTo>
                  <a:lnTo>
                    <a:pt x="24840" y="440328"/>
                  </a:lnTo>
                  <a:cubicBezTo>
                    <a:pt x="11189" y="440328"/>
                    <a:pt x="0" y="429150"/>
                    <a:pt x="0" y="415512"/>
                  </a:cubicBezTo>
                  <a:close/>
                  <a:moveTo>
                    <a:pt x="216210" y="86798"/>
                  </a:moveTo>
                  <a:lnTo>
                    <a:pt x="269323" y="179836"/>
                  </a:lnTo>
                  <a:lnTo>
                    <a:pt x="236052" y="179836"/>
                  </a:lnTo>
                  <a:lnTo>
                    <a:pt x="236052" y="210824"/>
                  </a:lnTo>
                  <a:lnTo>
                    <a:pt x="285734" y="210824"/>
                  </a:lnTo>
                  <a:lnTo>
                    <a:pt x="285734" y="235629"/>
                  </a:lnTo>
                  <a:lnTo>
                    <a:pt x="236052" y="235629"/>
                  </a:lnTo>
                  <a:lnTo>
                    <a:pt x="236052" y="260434"/>
                  </a:lnTo>
                  <a:lnTo>
                    <a:pt x="285734" y="260434"/>
                  </a:lnTo>
                  <a:lnTo>
                    <a:pt x="285734" y="285239"/>
                  </a:lnTo>
                  <a:lnTo>
                    <a:pt x="323033" y="285239"/>
                  </a:lnTo>
                  <a:lnTo>
                    <a:pt x="323033" y="260434"/>
                  </a:lnTo>
                  <a:lnTo>
                    <a:pt x="372715" y="260434"/>
                  </a:lnTo>
                  <a:lnTo>
                    <a:pt x="372715" y="235629"/>
                  </a:lnTo>
                  <a:lnTo>
                    <a:pt x="323033" y="235629"/>
                  </a:lnTo>
                  <a:lnTo>
                    <a:pt x="323033" y="210824"/>
                  </a:lnTo>
                  <a:lnTo>
                    <a:pt x="372715" y="210824"/>
                  </a:lnTo>
                  <a:lnTo>
                    <a:pt x="372715" y="179836"/>
                  </a:lnTo>
                  <a:lnTo>
                    <a:pt x="339444" y="179836"/>
                  </a:lnTo>
                  <a:lnTo>
                    <a:pt x="392558" y="86798"/>
                  </a:lnTo>
                  <a:lnTo>
                    <a:pt x="348993" y="86798"/>
                  </a:lnTo>
                  <a:lnTo>
                    <a:pt x="304831" y="167396"/>
                  </a:lnTo>
                  <a:lnTo>
                    <a:pt x="303936" y="167396"/>
                  </a:lnTo>
                  <a:lnTo>
                    <a:pt x="259849" y="86798"/>
                  </a:lnTo>
                  <a:close/>
                  <a:moveTo>
                    <a:pt x="87007" y="37188"/>
                  </a:moveTo>
                  <a:lnTo>
                    <a:pt x="521760" y="37188"/>
                  </a:lnTo>
                  <a:lnTo>
                    <a:pt x="521760" y="322484"/>
                  </a:lnTo>
                  <a:lnTo>
                    <a:pt x="87007" y="322484"/>
                  </a:lnTo>
                  <a:close/>
                  <a:moveTo>
                    <a:pt x="74518" y="24802"/>
                  </a:moveTo>
                  <a:lnTo>
                    <a:pt x="74518" y="334870"/>
                  </a:lnTo>
                  <a:lnTo>
                    <a:pt x="534179" y="334870"/>
                  </a:lnTo>
                  <a:lnTo>
                    <a:pt x="534179" y="24802"/>
                  </a:lnTo>
                  <a:close/>
                  <a:moveTo>
                    <a:pt x="74518" y="0"/>
                  </a:moveTo>
                  <a:lnTo>
                    <a:pt x="534179" y="0"/>
                  </a:lnTo>
                  <a:cubicBezTo>
                    <a:pt x="547830" y="0"/>
                    <a:pt x="559019" y="11172"/>
                    <a:pt x="559019" y="24802"/>
                  </a:cubicBezTo>
                  <a:lnTo>
                    <a:pt x="559019" y="359672"/>
                  </a:lnTo>
                  <a:lnTo>
                    <a:pt x="49678" y="359672"/>
                  </a:lnTo>
                  <a:lnTo>
                    <a:pt x="49678" y="24802"/>
                  </a:lnTo>
                  <a:cubicBezTo>
                    <a:pt x="49678" y="11172"/>
                    <a:pt x="60867" y="0"/>
                    <a:pt x="745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 sz="1600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19F2D7BD-CBF8-4CED-A2D3-245CDDAB970F}"/>
                </a:ext>
              </a:extLst>
            </p:cNvPr>
            <p:cNvSpPr/>
            <p:nvPr/>
          </p:nvSpPr>
          <p:spPr>
            <a:xfrm>
              <a:off x="4822178" y="1849152"/>
              <a:ext cx="2031297" cy="36035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418129E9-38C0-4A0A-8D19-CEA16A750234}"/>
                </a:ext>
              </a:extLst>
            </p:cNvPr>
            <p:cNvSpPr/>
            <p:nvPr/>
          </p:nvSpPr>
          <p:spPr bwMode="auto">
            <a:xfrm>
              <a:off x="4822178" y="1837613"/>
              <a:ext cx="2031298" cy="3615059"/>
            </a:xfrm>
            <a:prstGeom prst="rect">
              <a:avLst/>
            </a:prstGeom>
            <a:blipFill>
              <a:blip r:embed="rId2"/>
              <a:stretch>
                <a:fillRect l="-84050" r="-83006"/>
              </a:stretch>
            </a:blipFill>
            <a:ln w="381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10872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9399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18597A6-D9E3-4F67-92B3-21007B3C9CE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240463"/>
            <a:ext cx="4140200" cy="206375"/>
          </a:xfrm>
        </p:spPr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CA286B8-53A2-403E-911D-8920F832F6D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99044E65-71C2-4B92-8DDC-1AD787D09245}"/>
              </a:ext>
            </a:extLst>
          </p:cNvPr>
          <p:cNvGrpSpPr/>
          <p:nvPr/>
        </p:nvGrpSpPr>
        <p:grpSpPr>
          <a:xfrm>
            <a:off x="0" y="4452496"/>
            <a:ext cx="12177668" cy="2440827"/>
            <a:chOff x="0" y="4466341"/>
            <a:chExt cx="9144000" cy="1832773"/>
          </a:xfrm>
        </p:grpSpPr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C96AB7A6-6F11-47F9-A08C-BEE0B06BA360}"/>
                </a:ext>
              </a:extLst>
            </p:cNvPr>
            <p:cNvSpPr/>
            <p:nvPr/>
          </p:nvSpPr>
          <p:spPr bwMode="auto">
            <a:xfrm>
              <a:off x="772875" y="4678733"/>
              <a:ext cx="4359944" cy="1392352"/>
            </a:xfrm>
            <a:custGeom>
              <a:avLst/>
              <a:gdLst>
                <a:gd name="T0" fmla="*/ 1027 w 1478"/>
                <a:gd name="T1" fmla="*/ 471 h 473"/>
                <a:gd name="T2" fmla="*/ 972 w 1478"/>
                <a:gd name="T3" fmla="*/ 473 h 473"/>
                <a:gd name="T4" fmla="*/ 970 w 1478"/>
                <a:gd name="T5" fmla="*/ 473 h 473"/>
                <a:gd name="T6" fmla="*/ 995 w 1478"/>
                <a:gd name="T7" fmla="*/ 117 h 473"/>
                <a:gd name="T8" fmla="*/ 996 w 1478"/>
                <a:gd name="T9" fmla="*/ 105 h 473"/>
                <a:gd name="T10" fmla="*/ 1006 w 1478"/>
                <a:gd name="T11" fmla="*/ 117 h 473"/>
                <a:gd name="T12" fmla="*/ 1010 w 1478"/>
                <a:gd name="T13" fmla="*/ 471 h 473"/>
                <a:gd name="T14" fmla="*/ 1461 w 1478"/>
                <a:gd name="T15" fmla="*/ 105 h 473"/>
                <a:gd name="T16" fmla="*/ 1465 w 1478"/>
                <a:gd name="T17" fmla="*/ 105 h 473"/>
                <a:gd name="T18" fmla="*/ 1475 w 1478"/>
                <a:gd name="T19" fmla="*/ 155 h 473"/>
                <a:gd name="T20" fmla="*/ 1478 w 1478"/>
                <a:gd name="T21" fmla="*/ 473 h 473"/>
                <a:gd name="T22" fmla="*/ 1465 w 1478"/>
                <a:gd name="T23" fmla="*/ 473 h 473"/>
                <a:gd name="T24" fmla="*/ 1423 w 1478"/>
                <a:gd name="T25" fmla="*/ 473 h 473"/>
                <a:gd name="T26" fmla="*/ 1415 w 1478"/>
                <a:gd name="T27" fmla="*/ 207 h 473"/>
                <a:gd name="T28" fmla="*/ 1423 w 1478"/>
                <a:gd name="T29" fmla="*/ 155 h 473"/>
                <a:gd name="T30" fmla="*/ 1427 w 1478"/>
                <a:gd name="T31" fmla="*/ 105 h 473"/>
                <a:gd name="T32" fmla="*/ 1442 w 1478"/>
                <a:gd name="T33" fmla="*/ 23 h 473"/>
                <a:gd name="T34" fmla="*/ 1461 w 1478"/>
                <a:gd name="T35" fmla="*/ 105 h 473"/>
                <a:gd name="T36" fmla="*/ 1285 w 1478"/>
                <a:gd name="T37" fmla="*/ 190 h 473"/>
                <a:gd name="T38" fmla="*/ 1335 w 1478"/>
                <a:gd name="T39" fmla="*/ 473 h 473"/>
                <a:gd name="T40" fmla="*/ 1285 w 1478"/>
                <a:gd name="T41" fmla="*/ 190 h 473"/>
                <a:gd name="T42" fmla="*/ 1176 w 1478"/>
                <a:gd name="T43" fmla="*/ 243 h 473"/>
                <a:gd name="T44" fmla="*/ 1216 w 1478"/>
                <a:gd name="T45" fmla="*/ 473 h 473"/>
                <a:gd name="T46" fmla="*/ 1176 w 1478"/>
                <a:gd name="T47" fmla="*/ 243 h 473"/>
                <a:gd name="T48" fmla="*/ 1083 w 1478"/>
                <a:gd name="T49" fmla="*/ 167 h 473"/>
                <a:gd name="T50" fmla="*/ 1125 w 1478"/>
                <a:gd name="T51" fmla="*/ 473 h 473"/>
                <a:gd name="T52" fmla="*/ 1083 w 1478"/>
                <a:gd name="T53" fmla="*/ 167 h 473"/>
                <a:gd name="T54" fmla="*/ 849 w 1478"/>
                <a:gd name="T55" fmla="*/ 295 h 473"/>
                <a:gd name="T56" fmla="*/ 884 w 1478"/>
                <a:gd name="T57" fmla="*/ 473 h 473"/>
                <a:gd name="T58" fmla="*/ 849 w 1478"/>
                <a:gd name="T59" fmla="*/ 295 h 473"/>
                <a:gd name="T60" fmla="*/ 631 w 1478"/>
                <a:gd name="T61" fmla="*/ 373 h 473"/>
                <a:gd name="T62" fmla="*/ 643 w 1478"/>
                <a:gd name="T63" fmla="*/ 318 h 473"/>
                <a:gd name="T64" fmla="*/ 667 w 1478"/>
                <a:gd name="T65" fmla="*/ 306 h 473"/>
                <a:gd name="T66" fmla="*/ 702 w 1478"/>
                <a:gd name="T67" fmla="*/ 234 h 473"/>
                <a:gd name="T68" fmla="*/ 723 w 1478"/>
                <a:gd name="T69" fmla="*/ 306 h 473"/>
                <a:gd name="T70" fmla="*/ 702 w 1478"/>
                <a:gd name="T71" fmla="*/ 473 h 473"/>
                <a:gd name="T72" fmla="*/ 687 w 1478"/>
                <a:gd name="T73" fmla="*/ 473 h 473"/>
                <a:gd name="T74" fmla="*/ 643 w 1478"/>
                <a:gd name="T75" fmla="*/ 473 h 473"/>
                <a:gd name="T76" fmla="*/ 631 w 1478"/>
                <a:gd name="T77" fmla="*/ 373 h 473"/>
                <a:gd name="T78" fmla="*/ 581 w 1478"/>
                <a:gd name="T79" fmla="*/ 255 h 473"/>
                <a:gd name="T80" fmla="*/ 623 w 1478"/>
                <a:gd name="T81" fmla="*/ 473 h 473"/>
                <a:gd name="T82" fmla="*/ 581 w 1478"/>
                <a:gd name="T83" fmla="*/ 255 h 473"/>
                <a:gd name="T84" fmla="*/ 532 w 1478"/>
                <a:gd name="T85" fmla="*/ 314 h 473"/>
                <a:gd name="T86" fmla="*/ 557 w 1478"/>
                <a:gd name="T87" fmla="*/ 356 h 473"/>
                <a:gd name="T88" fmla="*/ 532 w 1478"/>
                <a:gd name="T89" fmla="*/ 473 h 473"/>
                <a:gd name="T90" fmla="*/ 455 w 1478"/>
                <a:gd name="T91" fmla="*/ 473 h 473"/>
                <a:gd name="T92" fmla="*/ 455 w 1478"/>
                <a:gd name="T93" fmla="*/ 302 h 473"/>
                <a:gd name="T94" fmla="*/ 488 w 1478"/>
                <a:gd name="T95" fmla="*/ 356 h 473"/>
                <a:gd name="T96" fmla="*/ 532 w 1478"/>
                <a:gd name="T97" fmla="*/ 314 h 473"/>
                <a:gd name="T98" fmla="*/ 360 w 1478"/>
                <a:gd name="T99" fmla="*/ 293 h 473"/>
                <a:gd name="T100" fmla="*/ 426 w 1478"/>
                <a:gd name="T101" fmla="*/ 473 h 473"/>
                <a:gd name="T102" fmla="*/ 360 w 1478"/>
                <a:gd name="T103" fmla="*/ 293 h 473"/>
                <a:gd name="T104" fmla="*/ 287 w 1478"/>
                <a:gd name="T105" fmla="*/ 209 h 473"/>
                <a:gd name="T106" fmla="*/ 350 w 1478"/>
                <a:gd name="T107" fmla="*/ 473 h 473"/>
                <a:gd name="T108" fmla="*/ 287 w 1478"/>
                <a:gd name="T109" fmla="*/ 209 h 473"/>
                <a:gd name="T110" fmla="*/ 195 w 1478"/>
                <a:gd name="T111" fmla="*/ 184 h 473"/>
                <a:gd name="T112" fmla="*/ 241 w 1478"/>
                <a:gd name="T113" fmla="*/ 473 h 473"/>
                <a:gd name="T114" fmla="*/ 195 w 1478"/>
                <a:gd name="T115" fmla="*/ 184 h 473"/>
                <a:gd name="T116" fmla="*/ 31 w 1478"/>
                <a:gd name="T117" fmla="*/ 264 h 473"/>
                <a:gd name="T118" fmla="*/ 92 w 1478"/>
                <a:gd name="T119" fmla="*/ 473 h 473"/>
                <a:gd name="T120" fmla="*/ 31 w 1478"/>
                <a:gd name="T121" fmla="*/ 473 h 473"/>
                <a:gd name="T122" fmla="*/ 0 w 1478"/>
                <a:gd name="T123" fmla="*/ 331 h 473"/>
                <a:gd name="T124" fmla="*/ 31 w 1478"/>
                <a:gd name="T125" fmla="*/ 264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8" h="473">
                  <a:moveTo>
                    <a:pt x="1010" y="471"/>
                  </a:moveTo>
                  <a:lnTo>
                    <a:pt x="1027" y="471"/>
                  </a:lnTo>
                  <a:lnTo>
                    <a:pt x="1027" y="473"/>
                  </a:lnTo>
                  <a:lnTo>
                    <a:pt x="972" y="473"/>
                  </a:lnTo>
                  <a:lnTo>
                    <a:pt x="972" y="473"/>
                  </a:lnTo>
                  <a:lnTo>
                    <a:pt x="970" y="473"/>
                  </a:lnTo>
                  <a:lnTo>
                    <a:pt x="970" y="117"/>
                  </a:lnTo>
                  <a:lnTo>
                    <a:pt x="995" y="117"/>
                  </a:lnTo>
                  <a:lnTo>
                    <a:pt x="996" y="75"/>
                  </a:lnTo>
                  <a:lnTo>
                    <a:pt x="996" y="105"/>
                  </a:lnTo>
                  <a:lnTo>
                    <a:pt x="1002" y="105"/>
                  </a:lnTo>
                  <a:lnTo>
                    <a:pt x="1006" y="117"/>
                  </a:lnTo>
                  <a:lnTo>
                    <a:pt x="1010" y="117"/>
                  </a:lnTo>
                  <a:lnTo>
                    <a:pt x="1010" y="471"/>
                  </a:lnTo>
                  <a:lnTo>
                    <a:pt x="1010" y="471"/>
                  </a:lnTo>
                  <a:close/>
                  <a:moveTo>
                    <a:pt x="1461" y="105"/>
                  </a:moveTo>
                  <a:lnTo>
                    <a:pt x="1463" y="0"/>
                  </a:lnTo>
                  <a:lnTo>
                    <a:pt x="1465" y="105"/>
                  </a:lnTo>
                  <a:lnTo>
                    <a:pt x="1475" y="105"/>
                  </a:lnTo>
                  <a:lnTo>
                    <a:pt x="1475" y="155"/>
                  </a:lnTo>
                  <a:lnTo>
                    <a:pt x="1478" y="155"/>
                  </a:lnTo>
                  <a:lnTo>
                    <a:pt x="1478" y="473"/>
                  </a:lnTo>
                  <a:lnTo>
                    <a:pt x="1475" y="473"/>
                  </a:lnTo>
                  <a:lnTo>
                    <a:pt x="1465" y="473"/>
                  </a:lnTo>
                  <a:lnTo>
                    <a:pt x="1427" y="473"/>
                  </a:lnTo>
                  <a:lnTo>
                    <a:pt x="1423" y="473"/>
                  </a:lnTo>
                  <a:lnTo>
                    <a:pt x="1415" y="473"/>
                  </a:lnTo>
                  <a:lnTo>
                    <a:pt x="1415" y="207"/>
                  </a:lnTo>
                  <a:lnTo>
                    <a:pt x="1423" y="207"/>
                  </a:lnTo>
                  <a:lnTo>
                    <a:pt x="1423" y="155"/>
                  </a:lnTo>
                  <a:lnTo>
                    <a:pt x="1427" y="155"/>
                  </a:lnTo>
                  <a:lnTo>
                    <a:pt x="1427" y="105"/>
                  </a:lnTo>
                  <a:lnTo>
                    <a:pt x="1440" y="105"/>
                  </a:lnTo>
                  <a:lnTo>
                    <a:pt x="1442" y="23"/>
                  </a:lnTo>
                  <a:lnTo>
                    <a:pt x="1444" y="105"/>
                  </a:lnTo>
                  <a:lnTo>
                    <a:pt x="1461" y="105"/>
                  </a:lnTo>
                  <a:lnTo>
                    <a:pt x="1461" y="105"/>
                  </a:lnTo>
                  <a:close/>
                  <a:moveTo>
                    <a:pt x="1285" y="190"/>
                  </a:moveTo>
                  <a:lnTo>
                    <a:pt x="1335" y="190"/>
                  </a:lnTo>
                  <a:lnTo>
                    <a:pt x="1335" y="473"/>
                  </a:lnTo>
                  <a:lnTo>
                    <a:pt x="1285" y="473"/>
                  </a:lnTo>
                  <a:lnTo>
                    <a:pt x="1285" y="190"/>
                  </a:lnTo>
                  <a:lnTo>
                    <a:pt x="1285" y="190"/>
                  </a:lnTo>
                  <a:close/>
                  <a:moveTo>
                    <a:pt x="1176" y="243"/>
                  </a:moveTo>
                  <a:lnTo>
                    <a:pt x="1216" y="243"/>
                  </a:lnTo>
                  <a:lnTo>
                    <a:pt x="1216" y="473"/>
                  </a:lnTo>
                  <a:lnTo>
                    <a:pt x="1176" y="473"/>
                  </a:lnTo>
                  <a:lnTo>
                    <a:pt x="1176" y="243"/>
                  </a:lnTo>
                  <a:lnTo>
                    <a:pt x="1176" y="243"/>
                  </a:lnTo>
                  <a:close/>
                  <a:moveTo>
                    <a:pt x="1083" y="167"/>
                  </a:moveTo>
                  <a:lnTo>
                    <a:pt x="1125" y="167"/>
                  </a:lnTo>
                  <a:lnTo>
                    <a:pt x="1125" y="473"/>
                  </a:lnTo>
                  <a:lnTo>
                    <a:pt x="1083" y="473"/>
                  </a:lnTo>
                  <a:lnTo>
                    <a:pt x="1083" y="167"/>
                  </a:lnTo>
                  <a:lnTo>
                    <a:pt x="1083" y="167"/>
                  </a:lnTo>
                  <a:close/>
                  <a:moveTo>
                    <a:pt x="849" y="295"/>
                  </a:moveTo>
                  <a:lnTo>
                    <a:pt x="884" y="295"/>
                  </a:lnTo>
                  <a:lnTo>
                    <a:pt x="884" y="473"/>
                  </a:lnTo>
                  <a:lnTo>
                    <a:pt x="849" y="473"/>
                  </a:lnTo>
                  <a:lnTo>
                    <a:pt x="849" y="295"/>
                  </a:lnTo>
                  <a:lnTo>
                    <a:pt x="849" y="295"/>
                  </a:lnTo>
                  <a:close/>
                  <a:moveTo>
                    <a:pt x="631" y="373"/>
                  </a:moveTo>
                  <a:lnTo>
                    <a:pt x="643" y="373"/>
                  </a:lnTo>
                  <a:lnTo>
                    <a:pt x="643" y="318"/>
                  </a:lnTo>
                  <a:lnTo>
                    <a:pt x="667" y="318"/>
                  </a:lnTo>
                  <a:lnTo>
                    <a:pt x="667" y="306"/>
                  </a:lnTo>
                  <a:lnTo>
                    <a:pt x="667" y="234"/>
                  </a:lnTo>
                  <a:lnTo>
                    <a:pt x="702" y="234"/>
                  </a:lnTo>
                  <a:lnTo>
                    <a:pt x="702" y="306"/>
                  </a:lnTo>
                  <a:lnTo>
                    <a:pt x="723" y="306"/>
                  </a:lnTo>
                  <a:lnTo>
                    <a:pt x="723" y="473"/>
                  </a:lnTo>
                  <a:lnTo>
                    <a:pt x="702" y="473"/>
                  </a:lnTo>
                  <a:lnTo>
                    <a:pt x="698" y="473"/>
                  </a:lnTo>
                  <a:lnTo>
                    <a:pt x="687" y="473"/>
                  </a:lnTo>
                  <a:lnTo>
                    <a:pt x="667" y="473"/>
                  </a:lnTo>
                  <a:lnTo>
                    <a:pt x="643" y="473"/>
                  </a:lnTo>
                  <a:lnTo>
                    <a:pt x="631" y="473"/>
                  </a:lnTo>
                  <a:lnTo>
                    <a:pt x="631" y="373"/>
                  </a:lnTo>
                  <a:lnTo>
                    <a:pt x="631" y="373"/>
                  </a:lnTo>
                  <a:close/>
                  <a:moveTo>
                    <a:pt x="581" y="255"/>
                  </a:moveTo>
                  <a:lnTo>
                    <a:pt x="623" y="255"/>
                  </a:lnTo>
                  <a:lnTo>
                    <a:pt x="623" y="473"/>
                  </a:lnTo>
                  <a:lnTo>
                    <a:pt x="581" y="473"/>
                  </a:lnTo>
                  <a:lnTo>
                    <a:pt x="581" y="255"/>
                  </a:lnTo>
                  <a:lnTo>
                    <a:pt x="581" y="255"/>
                  </a:lnTo>
                  <a:close/>
                  <a:moveTo>
                    <a:pt x="532" y="314"/>
                  </a:moveTo>
                  <a:lnTo>
                    <a:pt x="557" y="314"/>
                  </a:lnTo>
                  <a:lnTo>
                    <a:pt x="557" y="356"/>
                  </a:lnTo>
                  <a:lnTo>
                    <a:pt x="557" y="473"/>
                  </a:lnTo>
                  <a:lnTo>
                    <a:pt x="532" y="473"/>
                  </a:lnTo>
                  <a:lnTo>
                    <a:pt x="488" y="473"/>
                  </a:lnTo>
                  <a:lnTo>
                    <a:pt x="455" y="473"/>
                  </a:lnTo>
                  <a:lnTo>
                    <a:pt x="455" y="356"/>
                  </a:lnTo>
                  <a:lnTo>
                    <a:pt x="455" y="302"/>
                  </a:lnTo>
                  <a:lnTo>
                    <a:pt x="488" y="302"/>
                  </a:lnTo>
                  <a:lnTo>
                    <a:pt x="488" y="356"/>
                  </a:lnTo>
                  <a:lnTo>
                    <a:pt x="532" y="356"/>
                  </a:lnTo>
                  <a:lnTo>
                    <a:pt x="532" y="314"/>
                  </a:lnTo>
                  <a:lnTo>
                    <a:pt x="532" y="314"/>
                  </a:lnTo>
                  <a:close/>
                  <a:moveTo>
                    <a:pt x="360" y="293"/>
                  </a:moveTo>
                  <a:lnTo>
                    <a:pt x="426" y="293"/>
                  </a:lnTo>
                  <a:lnTo>
                    <a:pt x="426" y="473"/>
                  </a:lnTo>
                  <a:lnTo>
                    <a:pt x="360" y="473"/>
                  </a:lnTo>
                  <a:lnTo>
                    <a:pt x="360" y="293"/>
                  </a:lnTo>
                  <a:lnTo>
                    <a:pt x="360" y="293"/>
                  </a:lnTo>
                  <a:close/>
                  <a:moveTo>
                    <a:pt x="287" y="209"/>
                  </a:moveTo>
                  <a:lnTo>
                    <a:pt x="350" y="209"/>
                  </a:lnTo>
                  <a:lnTo>
                    <a:pt x="350" y="473"/>
                  </a:lnTo>
                  <a:lnTo>
                    <a:pt x="287" y="473"/>
                  </a:lnTo>
                  <a:lnTo>
                    <a:pt x="287" y="209"/>
                  </a:lnTo>
                  <a:lnTo>
                    <a:pt x="287" y="209"/>
                  </a:lnTo>
                  <a:close/>
                  <a:moveTo>
                    <a:pt x="195" y="184"/>
                  </a:moveTo>
                  <a:lnTo>
                    <a:pt x="241" y="184"/>
                  </a:lnTo>
                  <a:lnTo>
                    <a:pt x="241" y="473"/>
                  </a:lnTo>
                  <a:lnTo>
                    <a:pt x="195" y="473"/>
                  </a:lnTo>
                  <a:lnTo>
                    <a:pt x="195" y="184"/>
                  </a:lnTo>
                  <a:lnTo>
                    <a:pt x="195" y="184"/>
                  </a:lnTo>
                  <a:close/>
                  <a:moveTo>
                    <a:pt x="31" y="264"/>
                  </a:moveTo>
                  <a:lnTo>
                    <a:pt x="92" y="264"/>
                  </a:lnTo>
                  <a:lnTo>
                    <a:pt x="92" y="473"/>
                  </a:lnTo>
                  <a:lnTo>
                    <a:pt x="61" y="473"/>
                  </a:lnTo>
                  <a:lnTo>
                    <a:pt x="31" y="473"/>
                  </a:lnTo>
                  <a:lnTo>
                    <a:pt x="0" y="473"/>
                  </a:lnTo>
                  <a:lnTo>
                    <a:pt x="0" y="331"/>
                  </a:lnTo>
                  <a:lnTo>
                    <a:pt x="31" y="331"/>
                  </a:lnTo>
                  <a:lnTo>
                    <a:pt x="31" y="264"/>
                  </a:lnTo>
                  <a:lnTo>
                    <a:pt x="31" y="264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0235A7A7-B055-43F4-808D-987A934AB16E}"/>
                </a:ext>
              </a:extLst>
            </p:cNvPr>
            <p:cNvSpPr/>
            <p:nvPr/>
          </p:nvSpPr>
          <p:spPr bwMode="auto">
            <a:xfrm>
              <a:off x="117996" y="5321000"/>
              <a:ext cx="5994189" cy="750090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BFFCD75-73D8-4335-B57B-3F31CF8EA2AA}"/>
                </a:ext>
              </a:extLst>
            </p:cNvPr>
            <p:cNvSpPr/>
            <p:nvPr/>
          </p:nvSpPr>
          <p:spPr bwMode="auto">
            <a:xfrm>
              <a:off x="430686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20A5A27-E3A3-48AB-92CF-1E6178DF0008}"/>
                </a:ext>
              </a:extLst>
            </p:cNvPr>
            <p:cNvSpPr/>
            <p:nvPr/>
          </p:nvSpPr>
          <p:spPr bwMode="auto">
            <a:xfrm>
              <a:off x="908568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FCBC4F1-1055-4876-9F57-6E2A4FE12B01}"/>
                </a:ext>
              </a:extLst>
            </p:cNvPr>
            <p:cNvSpPr/>
            <p:nvPr/>
          </p:nvSpPr>
          <p:spPr bwMode="auto">
            <a:xfrm>
              <a:off x="2041328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7B67B1F2-C009-483C-AF02-AF7CD9CC0600}"/>
                </a:ext>
              </a:extLst>
            </p:cNvPr>
            <p:cNvSpPr/>
            <p:nvPr/>
          </p:nvSpPr>
          <p:spPr bwMode="auto">
            <a:xfrm>
              <a:off x="2118028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BC971B8A-D9C2-4DD4-9715-E1BF4770DCFD}"/>
                </a:ext>
              </a:extLst>
            </p:cNvPr>
            <p:cNvSpPr/>
            <p:nvPr/>
          </p:nvSpPr>
          <p:spPr bwMode="auto">
            <a:xfrm>
              <a:off x="2348117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0E8778B-4382-4CAE-954E-7697FD0E38F4}"/>
                </a:ext>
              </a:extLst>
            </p:cNvPr>
            <p:cNvSpPr/>
            <p:nvPr/>
          </p:nvSpPr>
          <p:spPr bwMode="auto">
            <a:xfrm>
              <a:off x="2660808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4EAA081C-D4C3-49C3-8999-3ADC5B68EAA7}"/>
                </a:ext>
              </a:extLst>
            </p:cNvPr>
            <p:cNvSpPr/>
            <p:nvPr/>
          </p:nvSpPr>
          <p:spPr bwMode="auto">
            <a:xfrm>
              <a:off x="2796502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3431743-9C0F-4F93-B715-A6A7A5293D14}"/>
                </a:ext>
              </a:extLst>
            </p:cNvPr>
            <p:cNvSpPr/>
            <p:nvPr/>
          </p:nvSpPr>
          <p:spPr bwMode="auto">
            <a:xfrm>
              <a:off x="3421880" y="5610901"/>
              <a:ext cx="147494" cy="442486"/>
            </a:xfrm>
            <a:custGeom>
              <a:avLst/>
              <a:gdLst>
                <a:gd name="T0" fmla="*/ 9 w 50"/>
                <a:gd name="T1" fmla="*/ 23 h 149"/>
                <a:gd name="T2" fmla="*/ 13 w 50"/>
                <a:gd name="T3" fmla="*/ 23 h 149"/>
                <a:gd name="T4" fmla="*/ 23 w 50"/>
                <a:gd name="T5" fmla="*/ 0 h 149"/>
                <a:gd name="T6" fmla="*/ 29 w 50"/>
                <a:gd name="T7" fmla="*/ 0 h 149"/>
                <a:gd name="T8" fmla="*/ 36 w 50"/>
                <a:gd name="T9" fmla="*/ 23 h 149"/>
                <a:gd name="T10" fmla="*/ 42 w 50"/>
                <a:gd name="T11" fmla="*/ 23 h 149"/>
                <a:gd name="T12" fmla="*/ 42 w 50"/>
                <a:gd name="T13" fmla="*/ 36 h 149"/>
                <a:gd name="T14" fmla="*/ 44 w 50"/>
                <a:gd name="T15" fmla="*/ 42 h 149"/>
                <a:gd name="T16" fmla="*/ 50 w 50"/>
                <a:gd name="T17" fmla="*/ 42 h 149"/>
                <a:gd name="T18" fmla="*/ 50 w 50"/>
                <a:gd name="T19" fmla="*/ 149 h 149"/>
                <a:gd name="T20" fmla="*/ 0 w 50"/>
                <a:gd name="T21" fmla="*/ 149 h 149"/>
                <a:gd name="T22" fmla="*/ 0 w 50"/>
                <a:gd name="T23" fmla="*/ 42 h 149"/>
                <a:gd name="T24" fmla="*/ 8 w 50"/>
                <a:gd name="T25" fmla="*/ 42 h 149"/>
                <a:gd name="T26" fmla="*/ 9 w 50"/>
                <a:gd name="T27" fmla="*/ 36 h 149"/>
                <a:gd name="T28" fmla="*/ 9 w 50"/>
                <a:gd name="T29" fmla="*/ 23 h 149"/>
                <a:gd name="T30" fmla="*/ 9 w 50"/>
                <a:gd name="T31" fmla="*/ 2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49">
                  <a:moveTo>
                    <a:pt x="9" y="23"/>
                  </a:moveTo>
                  <a:lnTo>
                    <a:pt x="13" y="23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2" y="36"/>
                  </a:lnTo>
                  <a:lnTo>
                    <a:pt x="44" y="42"/>
                  </a:lnTo>
                  <a:lnTo>
                    <a:pt x="50" y="42"/>
                  </a:lnTo>
                  <a:lnTo>
                    <a:pt x="50" y="149"/>
                  </a:lnTo>
                  <a:lnTo>
                    <a:pt x="0" y="149"/>
                  </a:lnTo>
                  <a:lnTo>
                    <a:pt x="0" y="42"/>
                  </a:lnTo>
                  <a:lnTo>
                    <a:pt x="8" y="42"/>
                  </a:lnTo>
                  <a:lnTo>
                    <a:pt x="9" y="36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E94EF8D-D402-4448-8F36-C78900E43B27}"/>
                </a:ext>
              </a:extLst>
            </p:cNvPr>
            <p:cNvSpPr/>
            <p:nvPr/>
          </p:nvSpPr>
          <p:spPr bwMode="auto">
            <a:xfrm>
              <a:off x="3646071" y="5964889"/>
              <a:ext cx="82597" cy="88498"/>
            </a:xfrm>
            <a:custGeom>
              <a:avLst/>
              <a:gdLst>
                <a:gd name="T0" fmla="*/ 0 w 28"/>
                <a:gd name="T1" fmla="*/ 0 h 31"/>
                <a:gd name="T2" fmla="*/ 28 w 28"/>
                <a:gd name="T3" fmla="*/ 0 h 31"/>
                <a:gd name="T4" fmla="*/ 28 w 28"/>
                <a:gd name="T5" fmla="*/ 31 h 31"/>
                <a:gd name="T6" fmla="*/ 0 w 28"/>
                <a:gd name="T7" fmla="*/ 31 h 31"/>
                <a:gd name="T8" fmla="*/ 0 w 28"/>
                <a:gd name="T9" fmla="*/ 0 h 31"/>
                <a:gd name="T10" fmla="*/ 0 w 28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1">
                  <a:moveTo>
                    <a:pt x="0" y="0"/>
                  </a:moveTo>
                  <a:lnTo>
                    <a:pt x="28" y="0"/>
                  </a:lnTo>
                  <a:lnTo>
                    <a:pt x="2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7914C39-7FFF-4625-8F62-A3561D395C37}"/>
                </a:ext>
              </a:extLst>
            </p:cNvPr>
            <p:cNvSpPr/>
            <p:nvPr/>
          </p:nvSpPr>
          <p:spPr bwMode="auto">
            <a:xfrm>
              <a:off x="3675572" y="5021474"/>
              <a:ext cx="778773" cy="1031913"/>
            </a:xfrm>
            <a:custGeom>
              <a:avLst/>
              <a:gdLst>
                <a:gd name="T0" fmla="*/ 124 w 266"/>
                <a:gd name="T1" fmla="*/ 0 h 476"/>
                <a:gd name="T2" fmla="*/ 203 w 266"/>
                <a:gd name="T3" fmla="*/ 0 h 476"/>
                <a:gd name="T4" fmla="*/ 203 w 266"/>
                <a:gd name="T5" fmla="*/ 5 h 476"/>
                <a:gd name="T6" fmla="*/ 209 w 266"/>
                <a:gd name="T7" fmla="*/ 5 h 476"/>
                <a:gd name="T8" fmla="*/ 209 w 266"/>
                <a:gd name="T9" fmla="*/ 9 h 476"/>
                <a:gd name="T10" fmla="*/ 214 w 266"/>
                <a:gd name="T11" fmla="*/ 9 h 476"/>
                <a:gd name="T12" fmla="*/ 214 w 266"/>
                <a:gd name="T13" fmla="*/ 17 h 476"/>
                <a:gd name="T14" fmla="*/ 222 w 266"/>
                <a:gd name="T15" fmla="*/ 17 h 476"/>
                <a:gd name="T16" fmla="*/ 222 w 266"/>
                <a:gd name="T17" fmla="*/ 430 h 476"/>
                <a:gd name="T18" fmla="*/ 230 w 266"/>
                <a:gd name="T19" fmla="*/ 430 h 476"/>
                <a:gd name="T20" fmla="*/ 230 w 266"/>
                <a:gd name="T21" fmla="*/ 453 h 476"/>
                <a:gd name="T22" fmla="*/ 230 w 266"/>
                <a:gd name="T23" fmla="*/ 462 h 476"/>
                <a:gd name="T24" fmla="*/ 266 w 266"/>
                <a:gd name="T25" fmla="*/ 462 h 476"/>
                <a:gd name="T26" fmla="*/ 266 w 266"/>
                <a:gd name="T27" fmla="*/ 476 h 476"/>
                <a:gd name="T28" fmla="*/ 230 w 266"/>
                <a:gd name="T29" fmla="*/ 476 h 476"/>
                <a:gd name="T30" fmla="*/ 222 w 266"/>
                <a:gd name="T31" fmla="*/ 476 h 476"/>
                <a:gd name="T32" fmla="*/ 199 w 266"/>
                <a:gd name="T33" fmla="*/ 476 h 476"/>
                <a:gd name="T34" fmla="*/ 124 w 266"/>
                <a:gd name="T35" fmla="*/ 476 h 476"/>
                <a:gd name="T36" fmla="*/ 48 w 266"/>
                <a:gd name="T37" fmla="*/ 476 h 476"/>
                <a:gd name="T38" fmla="*/ 0 w 266"/>
                <a:gd name="T39" fmla="*/ 476 h 476"/>
                <a:gd name="T40" fmla="*/ 0 w 266"/>
                <a:gd name="T41" fmla="*/ 453 h 476"/>
                <a:gd name="T42" fmla="*/ 0 w 266"/>
                <a:gd name="T43" fmla="*/ 411 h 476"/>
                <a:gd name="T44" fmla="*/ 10 w 266"/>
                <a:gd name="T45" fmla="*/ 411 h 476"/>
                <a:gd name="T46" fmla="*/ 10 w 266"/>
                <a:gd name="T47" fmla="*/ 166 h 476"/>
                <a:gd name="T48" fmla="*/ 17 w 266"/>
                <a:gd name="T49" fmla="*/ 166 h 476"/>
                <a:gd name="T50" fmla="*/ 17 w 266"/>
                <a:gd name="T51" fmla="*/ 155 h 476"/>
                <a:gd name="T52" fmla="*/ 23 w 266"/>
                <a:gd name="T53" fmla="*/ 155 h 476"/>
                <a:gd name="T54" fmla="*/ 23 w 266"/>
                <a:gd name="T55" fmla="*/ 143 h 476"/>
                <a:gd name="T56" fmla="*/ 25 w 266"/>
                <a:gd name="T57" fmla="*/ 143 h 476"/>
                <a:gd name="T58" fmla="*/ 44 w 266"/>
                <a:gd name="T59" fmla="*/ 111 h 476"/>
                <a:gd name="T60" fmla="*/ 46 w 266"/>
                <a:gd name="T61" fmla="*/ 111 h 476"/>
                <a:gd name="T62" fmla="*/ 48 w 266"/>
                <a:gd name="T63" fmla="*/ 111 h 476"/>
                <a:gd name="T64" fmla="*/ 48 w 266"/>
                <a:gd name="T65" fmla="*/ 76 h 476"/>
                <a:gd name="T66" fmla="*/ 50 w 266"/>
                <a:gd name="T67" fmla="*/ 76 h 476"/>
                <a:gd name="T68" fmla="*/ 50 w 266"/>
                <a:gd name="T69" fmla="*/ 113 h 476"/>
                <a:gd name="T70" fmla="*/ 69 w 266"/>
                <a:gd name="T71" fmla="*/ 143 h 476"/>
                <a:gd name="T72" fmla="*/ 71 w 266"/>
                <a:gd name="T73" fmla="*/ 143 h 476"/>
                <a:gd name="T74" fmla="*/ 71 w 266"/>
                <a:gd name="T75" fmla="*/ 155 h 476"/>
                <a:gd name="T76" fmla="*/ 75 w 266"/>
                <a:gd name="T77" fmla="*/ 155 h 476"/>
                <a:gd name="T78" fmla="*/ 75 w 266"/>
                <a:gd name="T79" fmla="*/ 166 h 476"/>
                <a:gd name="T80" fmla="*/ 82 w 266"/>
                <a:gd name="T81" fmla="*/ 166 h 476"/>
                <a:gd name="T82" fmla="*/ 82 w 266"/>
                <a:gd name="T83" fmla="*/ 453 h 476"/>
                <a:gd name="T84" fmla="*/ 124 w 266"/>
                <a:gd name="T85" fmla="*/ 453 h 476"/>
                <a:gd name="T86" fmla="*/ 124 w 266"/>
                <a:gd name="T87" fmla="*/ 23 h 476"/>
                <a:gd name="T88" fmla="*/ 124 w 266"/>
                <a:gd name="T89" fmla="*/ 17 h 476"/>
                <a:gd name="T90" fmla="*/ 124 w 266"/>
                <a:gd name="T91" fmla="*/ 17 h 476"/>
                <a:gd name="T92" fmla="*/ 124 w 266"/>
                <a:gd name="T93" fmla="*/ 11 h 476"/>
                <a:gd name="T94" fmla="*/ 124 w 266"/>
                <a:gd name="T95" fmla="*/ 9 h 476"/>
                <a:gd name="T96" fmla="*/ 124 w 266"/>
                <a:gd name="T97" fmla="*/ 5 h 476"/>
                <a:gd name="T98" fmla="*/ 124 w 266"/>
                <a:gd name="T99" fmla="*/ 0 h 476"/>
                <a:gd name="T100" fmla="*/ 124 w 266"/>
                <a:gd name="T101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476">
                  <a:moveTo>
                    <a:pt x="124" y="0"/>
                  </a:moveTo>
                  <a:lnTo>
                    <a:pt x="203" y="0"/>
                  </a:lnTo>
                  <a:lnTo>
                    <a:pt x="203" y="5"/>
                  </a:lnTo>
                  <a:lnTo>
                    <a:pt x="209" y="5"/>
                  </a:lnTo>
                  <a:lnTo>
                    <a:pt x="209" y="9"/>
                  </a:lnTo>
                  <a:lnTo>
                    <a:pt x="214" y="9"/>
                  </a:lnTo>
                  <a:lnTo>
                    <a:pt x="214" y="17"/>
                  </a:lnTo>
                  <a:lnTo>
                    <a:pt x="222" y="17"/>
                  </a:lnTo>
                  <a:lnTo>
                    <a:pt x="222" y="430"/>
                  </a:lnTo>
                  <a:lnTo>
                    <a:pt x="230" y="430"/>
                  </a:lnTo>
                  <a:lnTo>
                    <a:pt x="230" y="453"/>
                  </a:lnTo>
                  <a:lnTo>
                    <a:pt x="230" y="462"/>
                  </a:lnTo>
                  <a:lnTo>
                    <a:pt x="266" y="462"/>
                  </a:lnTo>
                  <a:lnTo>
                    <a:pt x="266" y="476"/>
                  </a:lnTo>
                  <a:lnTo>
                    <a:pt x="230" y="476"/>
                  </a:lnTo>
                  <a:lnTo>
                    <a:pt x="222" y="476"/>
                  </a:lnTo>
                  <a:lnTo>
                    <a:pt x="199" y="476"/>
                  </a:lnTo>
                  <a:lnTo>
                    <a:pt x="124" y="476"/>
                  </a:lnTo>
                  <a:lnTo>
                    <a:pt x="48" y="476"/>
                  </a:lnTo>
                  <a:lnTo>
                    <a:pt x="0" y="476"/>
                  </a:lnTo>
                  <a:lnTo>
                    <a:pt x="0" y="453"/>
                  </a:lnTo>
                  <a:lnTo>
                    <a:pt x="0" y="411"/>
                  </a:lnTo>
                  <a:lnTo>
                    <a:pt x="10" y="411"/>
                  </a:lnTo>
                  <a:lnTo>
                    <a:pt x="10" y="166"/>
                  </a:lnTo>
                  <a:lnTo>
                    <a:pt x="17" y="166"/>
                  </a:lnTo>
                  <a:lnTo>
                    <a:pt x="17" y="155"/>
                  </a:lnTo>
                  <a:lnTo>
                    <a:pt x="23" y="155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44" y="111"/>
                  </a:lnTo>
                  <a:lnTo>
                    <a:pt x="46" y="111"/>
                  </a:lnTo>
                  <a:lnTo>
                    <a:pt x="48" y="111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11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71" y="155"/>
                  </a:lnTo>
                  <a:lnTo>
                    <a:pt x="75" y="155"/>
                  </a:lnTo>
                  <a:lnTo>
                    <a:pt x="75" y="166"/>
                  </a:lnTo>
                  <a:lnTo>
                    <a:pt x="82" y="166"/>
                  </a:lnTo>
                  <a:lnTo>
                    <a:pt x="82" y="453"/>
                  </a:lnTo>
                  <a:lnTo>
                    <a:pt x="124" y="453"/>
                  </a:lnTo>
                  <a:lnTo>
                    <a:pt x="124" y="23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5"/>
                  </a:lnTo>
                  <a:lnTo>
                    <a:pt x="124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376A8BEC-9D7C-4711-820C-E7882ADBEFDA}"/>
                </a:ext>
              </a:extLst>
            </p:cNvPr>
            <p:cNvSpPr/>
            <p:nvPr/>
          </p:nvSpPr>
          <p:spPr bwMode="auto">
            <a:xfrm>
              <a:off x="4383548" y="5622700"/>
              <a:ext cx="306789" cy="430687"/>
            </a:xfrm>
            <a:custGeom>
              <a:avLst/>
              <a:gdLst>
                <a:gd name="T0" fmla="*/ 48 w 103"/>
                <a:gd name="T1" fmla="*/ 112 h 145"/>
                <a:gd name="T2" fmla="*/ 103 w 103"/>
                <a:gd name="T3" fmla="*/ 112 h 145"/>
                <a:gd name="T4" fmla="*/ 103 w 103"/>
                <a:gd name="T5" fmla="*/ 145 h 145"/>
                <a:gd name="T6" fmla="*/ 48 w 103"/>
                <a:gd name="T7" fmla="*/ 145 h 145"/>
                <a:gd name="T8" fmla="*/ 23 w 103"/>
                <a:gd name="T9" fmla="*/ 145 h 145"/>
                <a:gd name="T10" fmla="*/ 0 w 103"/>
                <a:gd name="T11" fmla="*/ 145 h 145"/>
                <a:gd name="T12" fmla="*/ 0 w 103"/>
                <a:gd name="T13" fmla="*/ 11 h 145"/>
                <a:gd name="T14" fmla="*/ 6 w 103"/>
                <a:gd name="T15" fmla="*/ 11 h 145"/>
                <a:gd name="T16" fmla="*/ 6 w 103"/>
                <a:gd name="T17" fmla="*/ 0 h 145"/>
                <a:gd name="T18" fmla="*/ 34 w 103"/>
                <a:gd name="T19" fmla="*/ 0 h 145"/>
                <a:gd name="T20" fmla="*/ 34 w 103"/>
                <a:gd name="T21" fmla="*/ 11 h 145"/>
                <a:gd name="T22" fmla="*/ 48 w 103"/>
                <a:gd name="T23" fmla="*/ 11 h 145"/>
                <a:gd name="T24" fmla="*/ 48 w 103"/>
                <a:gd name="T25" fmla="*/ 112 h 145"/>
                <a:gd name="T26" fmla="*/ 48 w 103"/>
                <a:gd name="T27" fmla="*/ 11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145">
                  <a:moveTo>
                    <a:pt x="48" y="112"/>
                  </a:moveTo>
                  <a:lnTo>
                    <a:pt x="103" y="112"/>
                  </a:lnTo>
                  <a:lnTo>
                    <a:pt x="103" y="145"/>
                  </a:lnTo>
                  <a:lnTo>
                    <a:pt x="48" y="145"/>
                  </a:lnTo>
                  <a:lnTo>
                    <a:pt x="23" y="145"/>
                  </a:lnTo>
                  <a:lnTo>
                    <a:pt x="0" y="145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6" y="0"/>
                  </a:lnTo>
                  <a:lnTo>
                    <a:pt x="34" y="0"/>
                  </a:lnTo>
                  <a:lnTo>
                    <a:pt x="34" y="11"/>
                  </a:lnTo>
                  <a:lnTo>
                    <a:pt x="48" y="11"/>
                  </a:lnTo>
                  <a:lnTo>
                    <a:pt x="48" y="112"/>
                  </a:lnTo>
                  <a:lnTo>
                    <a:pt x="48" y="112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3CE5A90-E7A3-40C4-AF9A-B2CCE17A1389}"/>
                </a:ext>
              </a:extLst>
            </p:cNvPr>
            <p:cNvSpPr/>
            <p:nvPr/>
          </p:nvSpPr>
          <p:spPr bwMode="auto">
            <a:xfrm>
              <a:off x="4908627" y="5634500"/>
              <a:ext cx="365788" cy="418888"/>
            </a:xfrm>
            <a:custGeom>
              <a:avLst/>
              <a:gdLst>
                <a:gd name="T0" fmla="*/ 0 w 124"/>
                <a:gd name="T1" fmla="*/ 0 h 142"/>
                <a:gd name="T2" fmla="*/ 124 w 124"/>
                <a:gd name="T3" fmla="*/ 0 h 142"/>
                <a:gd name="T4" fmla="*/ 124 w 124"/>
                <a:gd name="T5" fmla="*/ 142 h 142"/>
                <a:gd name="T6" fmla="*/ 0 w 124"/>
                <a:gd name="T7" fmla="*/ 142 h 142"/>
                <a:gd name="T8" fmla="*/ 0 w 124"/>
                <a:gd name="T9" fmla="*/ 0 h 142"/>
                <a:gd name="T10" fmla="*/ 0 w 124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142">
                  <a:moveTo>
                    <a:pt x="0" y="0"/>
                  </a:moveTo>
                  <a:lnTo>
                    <a:pt x="124" y="0"/>
                  </a:lnTo>
                  <a:lnTo>
                    <a:pt x="124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5ECFB45B-C0BE-4D47-8927-C2688F9BC984}"/>
                </a:ext>
              </a:extLst>
            </p:cNvPr>
            <p:cNvSpPr/>
            <p:nvPr/>
          </p:nvSpPr>
          <p:spPr bwMode="auto">
            <a:xfrm>
              <a:off x="5303915" y="5410309"/>
              <a:ext cx="873170" cy="643080"/>
            </a:xfrm>
            <a:custGeom>
              <a:avLst/>
              <a:gdLst>
                <a:gd name="T0" fmla="*/ 84 w 296"/>
                <a:gd name="T1" fmla="*/ 193 h 218"/>
                <a:gd name="T2" fmla="*/ 94 w 296"/>
                <a:gd name="T3" fmla="*/ 193 h 218"/>
                <a:gd name="T4" fmla="*/ 94 w 296"/>
                <a:gd name="T5" fmla="*/ 199 h 218"/>
                <a:gd name="T6" fmla="*/ 113 w 296"/>
                <a:gd name="T7" fmla="*/ 199 h 218"/>
                <a:gd name="T8" fmla="*/ 113 w 296"/>
                <a:gd name="T9" fmla="*/ 206 h 218"/>
                <a:gd name="T10" fmla="*/ 160 w 296"/>
                <a:gd name="T11" fmla="*/ 206 h 218"/>
                <a:gd name="T12" fmla="*/ 160 w 296"/>
                <a:gd name="T13" fmla="*/ 9 h 218"/>
                <a:gd name="T14" fmla="*/ 178 w 296"/>
                <a:gd name="T15" fmla="*/ 9 h 218"/>
                <a:gd name="T16" fmla="*/ 178 w 296"/>
                <a:gd name="T17" fmla="*/ 0 h 218"/>
                <a:gd name="T18" fmla="*/ 218 w 296"/>
                <a:gd name="T19" fmla="*/ 0 h 218"/>
                <a:gd name="T20" fmla="*/ 218 w 296"/>
                <a:gd name="T21" fmla="*/ 9 h 218"/>
                <a:gd name="T22" fmla="*/ 231 w 296"/>
                <a:gd name="T23" fmla="*/ 9 h 218"/>
                <a:gd name="T24" fmla="*/ 231 w 296"/>
                <a:gd name="T25" fmla="*/ 206 h 218"/>
                <a:gd name="T26" fmla="*/ 245 w 296"/>
                <a:gd name="T27" fmla="*/ 206 h 218"/>
                <a:gd name="T28" fmla="*/ 245 w 296"/>
                <a:gd name="T29" fmla="*/ 214 h 218"/>
                <a:gd name="T30" fmla="*/ 296 w 296"/>
                <a:gd name="T31" fmla="*/ 214 h 218"/>
                <a:gd name="T32" fmla="*/ 296 w 296"/>
                <a:gd name="T33" fmla="*/ 218 h 218"/>
                <a:gd name="T34" fmla="*/ 245 w 296"/>
                <a:gd name="T35" fmla="*/ 218 h 218"/>
                <a:gd name="T36" fmla="*/ 231 w 296"/>
                <a:gd name="T37" fmla="*/ 218 h 218"/>
                <a:gd name="T38" fmla="*/ 160 w 296"/>
                <a:gd name="T39" fmla="*/ 218 h 218"/>
                <a:gd name="T40" fmla="*/ 130 w 296"/>
                <a:gd name="T41" fmla="*/ 218 h 218"/>
                <a:gd name="T42" fmla="*/ 84 w 296"/>
                <a:gd name="T43" fmla="*/ 218 h 218"/>
                <a:gd name="T44" fmla="*/ 80 w 296"/>
                <a:gd name="T45" fmla="*/ 218 h 218"/>
                <a:gd name="T46" fmla="*/ 50 w 296"/>
                <a:gd name="T47" fmla="*/ 218 h 218"/>
                <a:gd name="T48" fmla="*/ 0 w 296"/>
                <a:gd name="T49" fmla="*/ 218 h 218"/>
                <a:gd name="T50" fmla="*/ 0 w 296"/>
                <a:gd name="T51" fmla="*/ 4 h 218"/>
                <a:gd name="T52" fmla="*/ 50 w 296"/>
                <a:gd name="T53" fmla="*/ 4 h 218"/>
                <a:gd name="T54" fmla="*/ 50 w 296"/>
                <a:gd name="T55" fmla="*/ 25 h 218"/>
                <a:gd name="T56" fmla="*/ 84 w 296"/>
                <a:gd name="T57" fmla="*/ 25 h 218"/>
                <a:gd name="T58" fmla="*/ 84 w 296"/>
                <a:gd name="T59" fmla="*/ 193 h 218"/>
                <a:gd name="T60" fmla="*/ 84 w 296"/>
                <a:gd name="T61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6" h="218">
                  <a:moveTo>
                    <a:pt x="84" y="193"/>
                  </a:moveTo>
                  <a:lnTo>
                    <a:pt x="94" y="193"/>
                  </a:lnTo>
                  <a:lnTo>
                    <a:pt x="94" y="199"/>
                  </a:lnTo>
                  <a:lnTo>
                    <a:pt x="113" y="199"/>
                  </a:lnTo>
                  <a:lnTo>
                    <a:pt x="113" y="206"/>
                  </a:lnTo>
                  <a:lnTo>
                    <a:pt x="160" y="206"/>
                  </a:lnTo>
                  <a:lnTo>
                    <a:pt x="160" y="9"/>
                  </a:lnTo>
                  <a:lnTo>
                    <a:pt x="178" y="9"/>
                  </a:lnTo>
                  <a:lnTo>
                    <a:pt x="178" y="0"/>
                  </a:lnTo>
                  <a:lnTo>
                    <a:pt x="218" y="0"/>
                  </a:lnTo>
                  <a:lnTo>
                    <a:pt x="218" y="9"/>
                  </a:lnTo>
                  <a:lnTo>
                    <a:pt x="231" y="9"/>
                  </a:lnTo>
                  <a:lnTo>
                    <a:pt x="231" y="206"/>
                  </a:lnTo>
                  <a:lnTo>
                    <a:pt x="245" y="206"/>
                  </a:lnTo>
                  <a:lnTo>
                    <a:pt x="245" y="214"/>
                  </a:lnTo>
                  <a:lnTo>
                    <a:pt x="296" y="214"/>
                  </a:lnTo>
                  <a:lnTo>
                    <a:pt x="296" y="218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160" y="218"/>
                  </a:lnTo>
                  <a:lnTo>
                    <a:pt x="130" y="218"/>
                  </a:lnTo>
                  <a:lnTo>
                    <a:pt x="84" y="218"/>
                  </a:lnTo>
                  <a:lnTo>
                    <a:pt x="80" y="218"/>
                  </a:lnTo>
                  <a:lnTo>
                    <a:pt x="50" y="218"/>
                  </a:lnTo>
                  <a:lnTo>
                    <a:pt x="0" y="218"/>
                  </a:lnTo>
                  <a:lnTo>
                    <a:pt x="0" y="4"/>
                  </a:lnTo>
                  <a:lnTo>
                    <a:pt x="50" y="4"/>
                  </a:lnTo>
                  <a:lnTo>
                    <a:pt x="50" y="25"/>
                  </a:lnTo>
                  <a:lnTo>
                    <a:pt x="84" y="25"/>
                  </a:lnTo>
                  <a:lnTo>
                    <a:pt x="84" y="193"/>
                  </a:lnTo>
                  <a:lnTo>
                    <a:pt x="84" y="19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5511EAEE-6F34-47C0-B55E-003AFDC42AF0}"/>
                </a:ext>
              </a:extLst>
            </p:cNvPr>
            <p:cNvSpPr/>
            <p:nvPr/>
          </p:nvSpPr>
          <p:spPr bwMode="auto">
            <a:xfrm>
              <a:off x="35399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BD52D1FA-6B93-4BBB-AA76-6639FB421281}"/>
                </a:ext>
              </a:extLst>
            </p:cNvPr>
            <p:cNvSpPr/>
            <p:nvPr/>
          </p:nvSpPr>
          <p:spPr bwMode="auto">
            <a:xfrm>
              <a:off x="2796502" y="4887064"/>
              <a:ext cx="595877" cy="1166323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0B15C851-F157-4A57-BC95-4B7A43139144}"/>
                </a:ext>
              </a:extLst>
            </p:cNvPr>
            <p:cNvSpPr/>
            <p:nvPr/>
          </p:nvSpPr>
          <p:spPr bwMode="auto">
            <a:xfrm>
              <a:off x="4708034" y="6006189"/>
              <a:ext cx="631276" cy="47199"/>
            </a:xfrm>
            <a:custGeom>
              <a:avLst/>
              <a:gdLst>
                <a:gd name="T0" fmla="*/ 0 w 212"/>
                <a:gd name="T1" fmla="*/ 0 h 15"/>
                <a:gd name="T2" fmla="*/ 212 w 212"/>
                <a:gd name="T3" fmla="*/ 0 h 15"/>
                <a:gd name="T4" fmla="*/ 212 w 212"/>
                <a:gd name="T5" fmla="*/ 15 h 15"/>
                <a:gd name="T6" fmla="*/ 0 w 212"/>
                <a:gd name="T7" fmla="*/ 15 h 15"/>
                <a:gd name="T8" fmla="*/ 0 w 212"/>
                <a:gd name="T9" fmla="*/ 0 h 15"/>
                <a:gd name="T10" fmla="*/ 0 w 21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2" h="15">
                  <a:moveTo>
                    <a:pt x="0" y="0"/>
                  </a:moveTo>
                  <a:lnTo>
                    <a:pt x="212" y="0"/>
                  </a:lnTo>
                  <a:lnTo>
                    <a:pt x="212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24B91648-F27B-4881-A656-9EE49B9927C7}"/>
                </a:ext>
              </a:extLst>
            </p:cNvPr>
            <p:cNvSpPr/>
            <p:nvPr/>
          </p:nvSpPr>
          <p:spPr bwMode="auto">
            <a:xfrm>
              <a:off x="0" y="5982589"/>
              <a:ext cx="9144000" cy="316525"/>
            </a:xfrm>
            <a:custGeom>
              <a:avLst/>
              <a:gdLst>
                <a:gd name="T0" fmla="*/ 132 w 2098"/>
                <a:gd name="T1" fmla="*/ 21 h 101"/>
                <a:gd name="T2" fmla="*/ 138 w 2098"/>
                <a:gd name="T3" fmla="*/ 0 h 101"/>
                <a:gd name="T4" fmla="*/ 281 w 2098"/>
                <a:gd name="T5" fmla="*/ 21 h 101"/>
                <a:gd name="T6" fmla="*/ 289 w 2098"/>
                <a:gd name="T7" fmla="*/ 0 h 101"/>
                <a:gd name="T8" fmla="*/ 675 w 2098"/>
                <a:gd name="T9" fmla="*/ 21 h 101"/>
                <a:gd name="T10" fmla="*/ 685 w 2098"/>
                <a:gd name="T11" fmla="*/ 0 h 101"/>
                <a:gd name="T12" fmla="*/ 706 w 2098"/>
                <a:gd name="T13" fmla="*/ 21 h 101"/>
                <a:gd name="T14" fmla="*/ 710 w 2098"/>
                <a:gd name="T15" fmla="*/ 0 h 101"/>
                <a:gd name="T16" fmla="*/ 819 w 2098"/>
                <a:gd name="T17" fmla="*/ 21 h 101"/>
                <a:gd name="T18" fmla="*/ 824 w 2098"/>
                <a:gd name="T19" fmla="*/ 0 h 101"/>
                <a:gd name="T20" fmla="*/ 889 w 2098"/>
                <a:gd name="T21" fmla="*/ 21 h 101"/>
                <a:gd name="T22" fmla="*/ 895 w 2098"/>
                <a:gd name="T23" fmla="*/ 0 h 101"/>
                <a:gd name="T24" fmla="*/ 979 w 2098"/>
                <a:gd name="T25" fmla="*/ 21 h 101"/>
                <a:gd name="T26" fmla="*/ 987 w 2098"/>
                <a:gd name="T27" fmla="*/ 0 h 101"/>
                <a:gd name="T28" fmla="*/ 1222 w 2098"/>
                <a:gd name="T29" fmla="*/ 21 h 101"/>
                <a:gd name="T30" fmla="*/ 1228 w 2098"/>
                <a:gd name="T31" fmla="*/ 0 h 101"/>
                <a:gd name="T32" fmla="*/ 1257 w 2098"/>
                <a:gd name="T33" fmla="*/ 21 h 101"/>
                <a:gd name="T34" fmla="*/ 1260 w 2098"/>
                <a:gd name="T35" fmla="*/ 4 h 101"/>
                <a:gd name="T36" fmla="*/ 1352 w 2098"/>
                <a:gd name="T37" fmla="*/ 0 h 101"/>
                <a:gd name="T38" fmla="*/ 1362 w 2098"/>
                <a:gd name="T39" fmla="*/ 4 h 101"/>
                <a:gd name="T40" fmla="*/ 1446 w 2098"/>
                <a:gd name="T41" fmla="*/ 0 h 101"/>
                <a:gd name="T42" fmla="*/ 1446 w 2098"/>
                <a:gd name="T43" fmla="*/ 11 h 101"/>
                <a:gd name="T44" fmla="*/ 1477 w 2098"/>
                <a:gd name="T45" fmla="*/ 21 h 101"/>
                <a:gd name="T46" fmla="*/ 1478 w 2098"/>
                <a:gd name="T47" fmla="*/ 0 h 101"/>
                <a:gd name="T48" fmla="*/ 1582 w 2098"/>
                <a:gd name="T49" fmla="*/ 21 h 101"/>
                <a:gd name="T50" fmla="*/ 1610 w 2098"/>
                <a:gd name="T51" fmla="*/ 0 h 101"/>
                <a:gd name="T52" fmla="*/ 1783 w 2098"/>
                <a:gd name="T53" fmla="*/ 21 h 101"/>
                <a:gd name="T54" fmla="*/ 1792 w 2098"/>
                <a:gd name="T55" fmla="*/ 0 h 101"/>
                <a:gd name="T56" fmla="*/ 1884 w 2098"/>
                <a:gd name="T57" fmla="*/ 4 h 101"/>
                <a:gd name="T58" fmla="*/ 1903 w 2098"/>
                <a:gd name="T59" fmla="*/ 11 h 101"/>
                <a:gd name="T60" fmla="*/ 1928 w 2098"/>
                <a:gd name="T61" fmla="*/ 0 h 101"/>
                <a:gd name="T62" fmla="*/ 2029 w 2098"/>
                <a:gd name="T63" fmla="*/ 11 h 101"/>
                <a:gd name="T64" fmla="*/ 2037 w 2098"/>
                <a:gd name="T65" fmla="*/ 19 h 101"/>
                <a:gd name="T66" fmla="*/ 2046 w 2098"/>
                <a:gd name="T67" fmla="*/ 4 h 101"/>
                <a:gd name="T68" fmla="*/ 2081 w 2098"/>
                <a:gd name="T69" fmla="*/ 19 h 101"/>
                <a:gd name="T70" fmla="*/ 2087 w 2098"/>
                <a:gd name="T71" fmla="*/ 21 h 101"/>
                <a:gd name="T72" fmla="*/ 2098 w 2098"/>
                <a:gd name="T73" fmla="*/ 57 h 101"/>
                <a:gd name="T74" fmla="*/ 2098 w 2098"/>
                <a:gd name="T75" fmla="*/ 101 h 101"/>
                <a:gd name="T76" fmla="*/ 0 w 2098"/>
                <a:gd name="T77" fmla="*/ 101 h 101"/>
                <a:gd name="T78" fmla="*/ 0 w 2098"/>
                <a:gd name="T79" fmla="*/ 57 h 101"/>
                <a:gd name="T80" fmla="*/ 4 w 2098"/>
                <a:gd name="T81" fmla="*/ 21 h 101"/>
                <a:gd name="T82" fmla="*/ 132 w 2098"/>
                <a:gd name="T8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98" h="101">
                  <a:moveTo>
                    <a:pt x="132" y="0"/>
                  </a:moveTo>
                  <a:lnTo>
                    <a:pt x="132" y="21"/>
                  </a:lnTo>
                  <a:lnTo>
                    <a:pt x="138" y="21"/>
                  </a:lnTo>
                  <a:lnTo>
                    <a:pt x="138" y="0"/>
                  </a:lnTo>
                  <a:lnTo>
                    <a:pt x="281" y="0"/>
                  </a:lnTo>
                  <a:lnTo>
                    <a:pt x="281" y="21"/>
                  </a:lnTo>
                  <a:lnTo>
                    <a:pt x="289" y="21"/>
                  </a:lnTo>
                  <a:lnTo>
                    <a:pt x="289" y="0"/>
                  </a:lnTo>
                  <a:lnTo>
                    <a:pt x="675" y="0"/>
                  </a:lnTo>
                  <a:lnTo>
                    <a:pt x="675" y="21"/>
                  </a:lnTo>
                  <a:lnTo>
                    <a:pt x="685" y="21"/>
                  </a:lnTo>
                  <a:lnTo>
                    <a:pt x="685" y="0"/>
                  </a:lnTo>
                  <a:lnTo>
                    <a:pt x="706" y="0"/>
                  </a:lnTo>
                  <a:lnTo>
                    <a:pt x="706" y="21"/>
                  </a:lnTo>
                  <a:lnTo>
                    <a:pt x="710" y="21"/>
                  </a:lnTo>
                  <a:lnTo>
                    <a:pt x="710" y="0"/>
                  </a:lnTo>
                  <a:lnTo>
                    <a:pt x="819" y="0"/>
                  </a:lnTo>
                  <a:lnTo>
                    <a:pt x="819" y="21"/>
                  </a:lnTo>
                  <a:lnTo>
                    <a:pt x="824" y="21"/>
                  </a:lnTo>
                  <a:lnTo>
                    <a:pt x="824" y="0"/>
                  </a:lnTo>
                  <a:lnTo>
                    <a:pt x="889" y="0"/>
                  </a:lnTo>
                  <a:lnTo>
                    <a:pt x="889" y="21"/>
                  </a:lnTo>
                  <a:lnTo>
                    <a:pt x="895" y="21"/>
                  </a:lnTo>
                  <a:lnTo>
                    <a:pt x="895" y="0"/>
                  </a:lnTo>
                  <a:lnTo>
                    <a:pt x="979" y="0"/>
                  </a:lnTo>
                  <a:lnTo>
                    <a:pt x="979" y="21"/>
                  </a:lnTo>
                  <a:lnTo>
                    <a:pt x="987" y="21"/>
                  </a:lnTo>
                  <a:lnTo>
                    <a:pt x="987" y="0"/>
                  </a:lnTo>
                  <a:lnTo>
                    <a:pt x="1222" y="0"/>
                  </a:lnTo>
                  <a:lnTo>
                    <a:pt x="1222" y="21"/>
                  </a:lnTo>
                  <a:lnTo>
                    <a:pt x="1228" y="21"/>
                  </a:lnTo>
                  <a:lnTo>
                    <a:pt x="1228" y="0"/>
                  </a:lnTo>
                  <a:lnTo>
                    <a:pt x="1257" y="0"/>
                  </a:lnTo>
                  <a:lnTo>
                    <a:pt x="1257" y="21"/>
                  </a:lnTo>
                  <a:lnTo>
                    <a:pt x="1260" y="21"/>
                  </a:lnTo>
                  <a:lnTo>
                    <a:pt x="1260" y="4"/>
                  </a:lnTo>
                  <a:lnTo>
                    <a:pt x="1260" y="0"/>
                  </a:lnTo>
                  <a:lnTo>
                    <a:pt x="1352" y="0"/>
                  </a:lnTo>
                  <a:lnTo>
                    <a:pt x="1352" y="4"/>
                  </a:lnTo>
                  <a:lnTo>
                    <a:pt x="1362" y="4"/>
                  </a:lnTo>
                  <a:lnTo>
                    <a:pt x="1362" y="0"/>
                  </a:lnTo>
                  <a:lnTo>
                    <a:pt x="1446" y="0"/>
                  </a:lnTo>
                  <a:lnTo>
                    <a:pt x="1446" y="4"/>
                  </a:lnTo>
                  <a:lnTo>
                    <a:pt x="1446" y="11"/>
                  </a:lnTo>
                  <a:lnTo>
                    <a:pt x="1477" y="11"/>
                  </a:lnTo>
                  <a:lnTo>
                    <a:pt x="1477" y="21"/>
                  </a:lnTo>
                  <a:lnTo>
                    <a:pt x="1478" y="21"/>
                  </a:lnTo>
                  <a:lnTo>
                    <a:pt x="1478" y="0"/>
                  </a:lnTo>
                  <a:lnTo>
                    <a:pt x="1582" y="0"/>
                  </a:lnTo>
                  <a:lnTo>
                    <a:pt x="1582" y="21"/>
                  </a:lnTo>
                  <a:lnTo>
                    <a:pt x="1610" y="21"/>
                  </a:lnTo>
                  <a:lnTo>
                    <a:pt x="1610" y="0"/>
                  </a:lnTo>
                  <a:lnTo>
                    <a:pt x="1783" y="0"/>
                  </a:lnTo>
                  <a:lnTo>
                    <a:pt x="1783" y="21"/>
                  </a:lnTo>
                  <a:lnTo>
                    <a:pt x="1792" y="21"/>
                  </a:lnTo>
                  <a:lnTo>
                    <a:pt x="1792" y="0"/>
                  </a:lnTo>
                  <a:lnTo>
                    <a:pt x="1884" y="0"/>
                  </a:lnTo>
                  <a:lnTo>
                    <a:pt x="1884" y="4"/>
                  </a:lnTo>
                  <a:lnTo>
                    <a:pt x="1903" y="4"/>
                  </a:lnTo>
                  <a:lnTo>
                    <a:pt x="1903" y="11"/>
                  </a:lnTo>
                  <a:lnTo>
                    <a:pt x="1928" y="11"/>
                  </a:lnTo>
                  <a:lnTo>
                    <a:pt x="1928" y="0"/>
                  </a:lnTo>
                  <a:lnTo>
                    <a:pt x="2029" y="0"/>
                  </a:lnTo>
                  <a:lnTo>
                    <a:pt x="2029" y="11"/>
                  </a:lnTo>
                  <a:lnTo>
                    <a:pt x="2037" y="11"/>
                  </a:lnTo>
                  <a:lnTo>
                    <a:pt x="2037" y="19"/>
                  </a:lnTo>
                  <a:lnTo>
                    <a:pt x="2046" y="19"/>
                  </a:lnTo>
                  <a:lnTo>
                    <a:pt x="2046" y="4"/>
                  </a:lnTo>
                  <a:lnTo>
                    <a:pt x="2081" y="4"/>
                  </a:lnTo>
                  <a:lnTo>
                    <a:pt x="2081" y="19"/>
                  </a:lnTo>
                  <a:lnTo>
                    <a:pt x="2087" y="19"/>
                  </a:lnTo>
                  <a:lnTo>
                    <a:pt x="2087" y="21"/>
                  </a:lnTo>
                  <a:lnTo>
                    <a:pt x="2098" y="21"/>
                  </a:lnTo>
                  <a:lnTo>
                    <a:pt x="2098" y="57"/>
                  </a:lnTo>
                  <a:lnTo>
                    <a:pt x="2098" y="57"/>
                  </a:lnTo>
                  <a:lnTo>
                    <a:pt x="2098" y="101"/>
                  </a:lnTo>
                  <a:lnTo>
                    <a:pt x="2098" y="101"/>
                  </a:lnTo>
                  <a:lnTo>
                    <a:pt x="0" y="10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21"/>
                  </a:lnTo>
                  <a:lnTo>
                    <a:pt x="4" y="21"/>
                  </a:lnTo>
                  <a:lnTo>
                    <a:pt x="4" y="0"/>
                  </a:lnTo>
                  <a:lnTo>
                    <a:pt x="132" y="0"/>
                  </a:lnTo>
                  <a:lnTo>
                    <a:pt x="132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7D1C52A3-3E7F-4F08-A48E-09ECEE8091AA}"/>
                </a:ext>
              </a:extLst>
            </p:cNvPr>
            <p:cNvSpPr/>
            <p:nvPr/>
          </p:nvSpPr>
          <p:spPr bwMode="auto">
            <a:xfrm>
              <a:off x="6503219" y="4891127"/>
              <a:ext cx="306789" cy="1162261"/>
            </a:xfrm>
            <a:custGeom>
              <a:avLst/>
              <a:gdLst>
                <a:gd name="T0" fmla="*/ 42 w 105"/>
                <a:gd name="T1" fmla="*/ 17 h 394"/>
                <a:gd name="T2" fmla="*/ 92 w 105"/>
                <a:gd name="T3" fmla="*/ 0 h 394"/>
                <a:gd name="T4" fmla="*/ 102 w 105"/>
                <a:gd name="T5" fmla="*/ 0 h 394"/>
                <a:gd name="T6" fmla="*/ 102 w 105"/>
                <a:gd name="T7" fmla="*/ 29 h 394"/>
                <a:gd name="T8" fmla="*/ 105 w 105"/>
                <a:gd name="T9" fmla="*/ 29 h 394"/>
                <a:gd name="T10" fmla="*/ 105 w 105"/>
                <a:gd name="T11" fmla="*/ 122 h 394"/>
                <a:gd name="T12" fmla="*/ 105 w 105"/>
                <a:gd name="T13" fmla="*/ 155 h 394"/>
                <a:gd name="T14" fmla="*/ 105 w 105"/>
                <a:gd name="T15" fmla="*/ 205 h 394"/>
                <a:gd name="T16" fmla="*/ 105 w 105"/>
                <a:gd name="T17" fmla="*/ 218 h 394"/>
                <a:gd name="T18" fmla="*/ 105 w 105"/>
                <a:gd name="T19" fmla="*/ 298 h 394"/>
                <a:gd name="T20" fmla="*/ 105 w 105"/>
                <a:gd name="T21" fmla="*/ 331 h 394"/>
                <a:gd name="T22" fmla="*/ 105 w 105"/>
                <a:gd name="T23" fmla="*/ 394 h 394"/>
                <a:gd name="T24" fmla="*/ 0 w 105"/>
                <a:gd name="T25" fmla="*/ 394 h 394"/>
                <a:gd name="T26" fmla="*/ 0 w 105"/>
                <a:gd name="T27" fmla="*/ 218 h 394"/>
                <a:gd name="T28" fmla="*/ 10 w 105"/>
                <a:gd name="T29" fmla="*/ 218 h 394"/>
                <a:gd name="T30" fmla="*/ 10 w 105"/>
                <a:gd name="T31" fmla="*/ 155 h 394"/>
                <a:gd name="T32" fmla="*/ 21 w 105"/>
                <a:gd name="T33" fmla="*/ 155 h 394"/>
                <a:gd name="T34" fmla="*/ 21 w 105"/>
                <a:gd name="T35" fmla="*/ 122 h 394"/>
                <a:gd name="T36" fmla="*/ 39 w 105"/>
                <a:gd name="T37" fmla="*/ 122 h 394"/>
                <a:gd name="T38" fmla="*/ 39 w 105"/>
                <a:gd name="T39" fmla="*/ 29 h 394"/>
                <a:gd name="T40" fmla="*/ 42 w 105"/>
                <a:gd name="T41" fmla="*/ 29 h 394"/>
                <a:gd name="T42" fmla="*/ 42 w 105"/>
                <a:gd name="T43" fmla="*/ 17 h 394"/>
                <a:gd name="T44" fmla="*/ 42 w 105"/>
                <a:gd name="T45" fmla="*/ 17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" h="394">
                  <a:moveTo>
                    <a:pt x="42" y="17"/>
                  </a:moveTo>
                  <a:lnTo>
                    <a:pt x="92" y="0"/>
                  </a:lnTo>
                  <a:lnTo>
                    <a:pt x="102" y="0"/>
                  </a:lnTo>
                  <a:lnTo>
                    <a:pt x="102" y="29"/>
                  </a:lnTo>
                  <a:lnTo>
                    <a:pt x="105" y="29"/>
                  </a:lnTo>
                  <a:lnTo>
                    <a:pt x="105" y="122"/>
                  </a:lnTo>
                  <a:lnTo>
                    <a:pt x="105" y="155"/>
                  </a:lnTo>
                  <a:lnTo>
                    <a:pt x="105" y="205"/>
                  </a:lnTo>
                  <a:lnTo>
                    <a:pt x="105" y="218"/>
                  </a:lnTo>
                  <a:lnTo>
                    <a:pt x="105" y="298"/>
                  </a:lnTo>
                  <a:lnTo>
                    <a:pt x="105" y="331"/>
                  </a:lnTo>
                  <a:lnTo>
                    <a:pt x="105" y="394"/>
                  </a:lnTo>
                  <a:lnTo>
                    <a:pt x="0" y="394"/>
                  </a:lnTo>
                  <a:lnTo>
                    <a:pt x="0" y="218"/>
                  </a:lnTo>
                  <a:lnTo>
                    <a:pt x="10" y="218"/>
                  </a:lnTo>
                  <a:lnTo>
                    <a:pt x="10" y="155"/>
                  </a:lnTo>
                  <a:lnTo>
                    <a:pt x="21" y="155"/>
                  </a:lnTo>
                  <a:lnTo>
                    <a:pt x="21" y="122"/>
                  </a:lnTo>
                  <a:lnTo>
                    <a:pt x="39" y="122"/>
                  </a:lnTo>
                  <a:lnTo>
                    <a:pt x="39" y="29"/>
                  </a:lnTo>
                  <a:lnTo>
                    <a:pt x="42" y="29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92559AA5-08DB-44A7-8194-5EFE8D5DE668}"/>
                </a:ext>
              </a:extLst>
            </p:cNvPr>
            <p:cNvSpPr/>
            <p:nvPr/>
          </p:nvSpPr>
          <p:spPr bwMode="auto">
            <a:xfrm>
              <a:off x="6981101" y="5251015"/>
              <a:ext cx="1103260" cy="802372"/>
            </a:xfrm>
            <a:custGeom>
              <a:avLst/>
              <a:gdLst>
                <a:gd name="T0" fmla="*/ 109 w 375"/>
                <a:gd name="T1" fmla="*/ 163 h 272"/>
                <a:gd name="T2" fmla="*/ 138 w 375"/>
                <a:gd name="T3" fmla="*/ 151 h 272"/>
                <a:gd name="T4" fmla="*/ 145 w 375"/>
                <a:gd name="T5" fmla="*/ 140 h 272"/>
                <a:gd name="T6" fmla="*/ 147 w 375"/>
                <a:gd name="T7" fmla="*/ 140 h 272"/>
                <a:gd name="T8" fmla="*/ 155 w 375"/>
                <a:gd name="T9" fmla="*/ 151 h 272"/>
                <a:gd name="T10" fmla="*/ 183 w 375"/>
                <a:gd name="T11" fmla="*/ 163 h 272"/>
                <a:gd name="T12" fmla="*/ 183 w 375"/>
                <a:gd name="T13" fmla="*/ 169 h 272"/>
                <a:gd name="T14" fmla="*/ 178 w 375"/>
                <a:gd name="T15" fmla="*/ 169 h 272"/>
                <a:gd name="T16" fmla="*/ 178 w 375"/>
                <a:gd name="T17" fmla="*/ 190 h 272"/>
                <a:gd name="T18" fmla="*/ 358 w 375"/>
                <a:gd name="T19" fmla="*/ 190 h 272"/>
                <a:gd name="T20" fmla="*/ 358 w 375"/>
                <a:gd name="T21" fmla="*/ 199 h 272"/>
                <a:gd name="T22" fmla="*/ 375 w 375"/>
                <a:gd name="T23" fmla="*/ 199 h 272"/>
                <a:gd name="T24" fmla="*/ 375 w 375"/>
                <a:gd name="T25" fmla="*/ 272 h 272"/>
                <a:gd name="T26" fmla="*/ 0 w 375"/>
                <a:gd name="T27" fmla="*/ 272 h 272"/>
                <a:gd name="T28" fmla="*/ 0 w 375"/>
                <a:gd name="T29" fmla="*/ 199 h 272"/>
                <a:gd name="T30" fmla="*/ 17 w 375"/>
                <a:gd name="T31" fmla="*/ 199 h 272"/>
                <a:gd name="T32" fmla="*/ 17 w 375"/>
                <a:gd name="T33" fmla="*/ 190 h 272"/>
                <a:gd name="T34" fmla="*/ 27 w 375"/>
                <a:gd name="T35" fmla="*/ 190 h 272"/>
                <a:gd name="T36" fmla="*/ 27 w 375"/>
                <a:gd name="T37" fmla="*/ 71 h 272"/>
                <a:gd name="T38" fmla="*/ 30 w 375"/>
                <a:gd name="T39" fmla="*/ 71 h 272"/>
                <a:gd name="T40" fmla="*/ 30 w 375"/>
                <a:gd name="T41" fmla="*/ 50 h 272"/>
                <a:gd name="T42" fmla="*/ 34 w 375"/>
                <a:gd name="T43" fmla="*/ 50 h 272"/>
                <a:gd name="T44" fmla="*/ 34 w 375"/>
                <a:gd name="T45" fmla="*/ 27 h 272"/>
                <a:gd name="T46" fmla="*/ 38 w 375"/>
                <a:gd name="T47" fmla="*/ 27 h 272"/>
                <a:gd name="T48" fmla="*/ 38 w 375"/>
                <a:gd name="T49" fmla="*/ 18 h 272"/>
                <a:gd name="T50" fmla="*/ 42 w 375"/>
                <a:gd name="T51" fmla="*/ 18 h 272"/>
                <a:gd name="T52" fmla="*/ 51 w 375"/>
                <a:gd name="T53" fmla="*/ 0 h 272"/>
                <a:gd name="T54" fmla="*/ 55 w 375"/>
                <a:gd name="T55" fmla="*/ 0 h 272"/>
                <a:gd name="T56" fmla="*/ 65 w 375"/>
                <a:gd name="T57" fmla="*/ 18 h 272"/>
                <a:gd name="T58" fmla="*/ 69 w 375"/>
                <a:gd name="T59" fmla="*/ 18 h 272"/>
                <a:gd name="T60" fmla="*/ 69 w 375"/>
                <a:gd name="T61" fmla="*/ 27 h 272"/>
                <a:gd name="T62" fmla="*/ 73 w 375"/>
                <a:gd name="T63" fmla="*/ 27 h 272"/>
                <a:gd name="T64" fmla="*/ 73 w 375"/>
                <a:gd name="T65" fmla="*/ 50 h 272"/>
                <a:gd name="T66" fmla="*/ 76 w 375"/>
                <a:gd name="T67" fmla="*/ 50 h 272"/>
                <a:gd name="T68" fmla="*/ 76 w 375"/>
                <a:gd name="T69" fmla="*/ 71 h 272"/>
                <a:gd name="T70" fmla="*/ 80 w 375"/>
                <a:gd name="T71" fmla="*/ 71 h 272"/>
                <a:gd name="T72" fmla="*/ 80 w 375"/>
                <a:gd name="T73" fmla="*/ 190 h 272"/>
                <a:gd name="T74" fmla="*/ 115 w 375"/>
                <a:gd name="T75" fmla="*/ 190 h 272"/>
                <a:gd name="T76" fmla="*/ 115 w 375"/>
                <a:gd name="T77" fmla="*/ 169 h 272"/>
                <a:gd name="T78" fmla="*/ 109 w 375"/>
                <a:gd name="T79" fmla="*/ 169 h 272"/>
                <a:gd name="T80" fmla="*/ 109 w 375"/>
                <a:gd name="T81" fmla="*/ 163 h 272"/>
                <a:gd name="T82" fmla="*/ 109 w 375"/>
                <a:gd name="T83" fmla="*/ 163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75" h="272">
                  <a:moveTo>
                    <a:pt x="109" y="163"/>
                  </a:moveTo>
                  <a:lnTo>
                    <a:pt x="138" y="151"/>
                  </a:lnTo>
                  <a:lnTo>
                    <a:pt x="145" y="140"/>
                  </a:lnTo>
                  <a:lnTo>
                    <a:pt x="147" y="140"/>
                  </a:lnTo>
                  <a:lnTo>
                    <a:pt x="155" y="151"/>
                  </a:lnTo>
                  <a:lnTo>
                    <a:pt x="183" y="163"/>
                  </a:lnTo>
                  <a:lnTo>
                    <a:pt x="183" y="169"/>
                  </a:lnTo>
                  <a:lnTo>
                    <a:pt x="178" y="169"/>
                  </a:lnTo>
                  <a:lnTo>
                    <a:pt x="178" y="190"/>
                  </a:lnTo>
                  <a:lnTo>
                    <a:pt x="358" y="190"/>
                  </a:lnTo>
                  <a:lnTo>
                    <a:pt x="358" y="199"/>
                  </a:lnTo>
                  <a:lnTo>
                    <a:pt x="375" y="199"/>
                  </a:lnTo>
                  <a:lnTo>
                    <a:pt x="375" y="272"/>
                  </a:lnTo>
                  <a:lnTo>
                    <a:pt x="0" y="272"/>
                  </a:lnTo>
                  <a:lnTo>
                    <a:pt x="0" y="199"/>
                  </a:lnTo>
                  <a:lnTo>
                    <a:pt x="17" y="199"/>
                  </a:lnTo>
                  <a:lnTo>
                    <a:pt x="17" y="190"/>
                  </a:lnTo>
                  <a:lnTo>
                    <a:pt x="27" y="190"/>
                  </a:lnTo>
                  <a:lnTo>
                    <a:pt x="27" y="71"/>
                  </a:lnTo>
                  <a:lnTo>
                    <a:pt x="30" y="71"/>
                  </a:lnTo>
                  <a:lnTo>
                    <a:pt x="30" y="50"/>
                  </a:lnTo>
                  <a:lnTo>
                    <a:pt x="34" y="50"/>
                  </a:lnTo>
                  <a:lnTo>
                    <a:pt x="34" y="27"/>
                  </a:lnTo>
                  <a:lnTo>
                    <a:pt x="38" y="27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51" y="0"/>
                  </a:lnTo>
                  <a:lnTo>
                    <a:pt x="55" y="0"/>
                  </a:lnTo>
                  <a:lnTo>
                    <a:pt x="65" y="18"/>
                  </a:lnTo>
                  <a:lnTo>
                    <a:pt x="69" y="18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3" y="50"/>
                  </a:lnTo>
                  <a:lnTo>
                    <a:pt x="76" y="50"/>
                  </a:lnTo>
                  <a:lnTo>
                    <a:pt x="76" y="71"/>
                  </a:lnTo>
                  <a:lnTo>
                    <a:pt x="80" y="71"/>
                  </a:lnTo>
                  <a:lnTo>
                    <a:pt x="80" y="190"/>
                  </a:lnTo>
                  <a:lnTo>
                    <a:pt x="115" y="190"/>
                  </a:lnTo>
                  <a:lnTo>
                    <a:pt x="115" y="169"/>
                  </a:lnTo>
                  <a:lnTo>
                    <a:pt x="109" y="169"/>
                  </a:lnTo>
                  <a:lnTo>
                    <a:pt x="109" y="163"/>
                  </a:lnTo>
                  <a:lnTo>
                    <a:pt x="109" y="163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19020C11-2C81-4A0A-9FED-E40B0F84B121}"/>
                </a:ext>
              </a:extLst>
            </p:cNvPr>
            <p:cNvSpPr/>
            <p:nvPr/>
          </p:nvSpPr>
          <p:spPr bwMode="auto">
            <a:xfrm>
              <a:off x="8113861" y="5852794"/>
              <a:ext cx="106196" cy="200593"/>
            </a:xfrm>
            <a:custGeom>
              <a:avLst/>
              <a:gdLst>
                <a:gd name="T0" fmla="*/ 0 w 37"/>
                <a:gd name="T1" fmla="*/ 0 h 67"/>
                <a:gd name="T2" fmla="*/ 37 w 37"/>
                <a:gd name="T3" fmla="*/ 0 h 67"/>
                <a:gd name="T4" fmla="*/ 37 w 37"/>
                <a:gd name="T5" fmla="*/ 67 h 67"/>
                <a:gd name="T6" fmla="*/ 0 w 37"/>
                <a:gd name="T7" fmla="*/ 67 h 67"/>
                <a:gd name="T8" fmla="*/ 0 w 37"/>
                <a:gd name="T9" fmla="*/ 0 h 67"/>
                <a:gd name="T10" fmla="*/ 0 w 37"/>
                <a:gd name="T11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67">
                  <a:moveTo>
                    <a:pt x="0" y="0"/>
                  </a:moveTo>
                  <a:lnTo>
                    <a:pt x="37" y="0"/>
                  </a:lnTo>
                  <a:lnTo>
                    <a:pt x="37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EA7784E9-ABC3-4756-B167-108F78A2870A}"/>
                </a:ext>
              </a:extLst>
            </p:cNvPr>
            <p:cNvSpPr/>
            <p:nvPr/>
          </p:nvSpPr>
          <p:spPr bwMode="auto">
            <a:xfrm>
              <a:off x="8190561" y="5905891"/>
              <a:ext cx="318589" cy="147496"/>
            </a:xfrm>
            <a:custGeom>
              <a:avLst/>
              <a:gdLst>
                <a:gd name="T0" fmla="*/ 63 w 109"/>
                <a:gd name="T1" fmla="*/ 0 h 50"/>
                <a:gd name="T2" fmla="*/ 109 w 109"/>
                <a:gd name="T3" fmla="*/ 0 h 50"/>
                <a:gd name="T4" fmla="*/ 109 w 109"/>
                <a:gd name="T5" fmla="*/ 25 h 50"/>
                <a:gd name="T6" fmla="*/ 109 w 109"/>
                <a:gd name="T7" fmla="*/ 50 h 50"/>
                <a:gd name="T8" fmla="*/ 63 w 109"/>
                <a:gd name="T9" fmla="*/ 50 h 50"/>
                <a:gd name="T10" fmla="*/ 0 w 109"/>
                <a:gd name="T11" fmla="*/ 50 h 50"/>
                <a:gd name="T12" fmla="*/ 0 w 109"/>
                <a:gd name="T13" fmla="*/ 25 h 50"/>
                <a:gd name="T14" fmla="*/ 63 w 109"/>
                <a:gd name="T15" fmla="*/ 25 h 50"/>
                <a:gd name="T16" fmla="*/ 63 w 109"/>
                <a:gd name="T17" fmla="*/ 0 h 50"/>
                <a:gd name="T18" fmla="*/ 63 w 109"/>
                <a:gd name="T1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50">
                  <a:moveTo>
                    <a:pt x="63" y="0"/>
                  </a:moveTo>
                  <a:lnTo>
                    <a:pt x="109" y="0"/>
                  </a:lnTo>
                  <a:lnTo>
                    <a:pt x="109" y="25"/>
                  </a:lnTo>
                  <a:lnTo>
                    <a:pt x="109" y="50"/>
                  </a:lnTo>
                  <a:lnTo>
                    <a:pt x="63" y="50"/>
                  </a:lnTo>
                  <a:lnTo>
                    <a:pt x="0" y="50"/>
                  </a:lnTo>
                  <a:lnTo>
                    <a:pt x="0" y="25"/>
                  </a:lnTo>
                  <a:lnTo>
                    <a:pt x="63" y="25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FD4DC11B-4B01-4004-A4AA-47368C6483AF}"/>
                </a:ext>
              </a:extLst>
            </p:cNvPr>
            <p:cNvSpPr/>
            <p:nvPr/>
          </p:nvSpPr>
          <p:spPr bwMode="auto">
            <a:xfrm>
              <a:off x="8420651" y="5522406"/>
              <a:ext cx="277288" cy="530981"/>
            </a:xfrm>
            <a:custGeom>
              <a:avLst/>
              <a:gdLst>
                <a:gd name="T0" fmla="*/ 30 w 93"/>
                <a:gd name="T1" fmla="*/ 27 h 180"/>
                <a:gd name="T2" fmla="*/ 44 w 93"/>
                <a:gd name="T3" fmla="*/ 0 h 180"/>
                <a:gd name="T4" fmla="*/ 49 w 93"/>
                <a:gd name="T5" fmla="*/ 0 h 180"/>
                <a:gd name="T6" fmla="*/ 63 w 93"/>
                <a:gd name="T7" fmla="*/ 27 h 180"/>
                <a:gd name="T8" fmla="*/ 68 w 93"/>
                <a:gd name="T9" fmla="*/ 27 h 180"/>
                <a:gd name="T10" fmla="*/ 68 w 93"/>
                <a:gd name="T11" fmla="*/ 59 h 180"/>
                <a:gd name="T12" fmla="*/ 93 w 93"/>
                <a:gd name="T13" fmla="*/ 59 h 180"/>
                <a:gd name="T14" fmla="*/ 93 w 93"/>
                <a:gd name="T15" fmla="*/ 180 h 180"/>
                <a:gd name="T16" fmla="*/ 0 w 93"/>
                <a:gd name="T17" fmla="*/ 180 h 180"/>
                <a:gd name="T18" fmla="*/ 0 w 93"/>
                <a:gd name="T19" fmla="*/ 59 h 180"/>
                <a:gd name="T20" fmla="*/ 24 w 93"/>
                <a:gd name="T21" fmla="*/ 59 h 180"/>
                <a:gd name="T22" fmla="*/ 24 w 93"/>
                <a:gd name="T23" fmla="*/ 27 h 180"/>
                <a:gd name="T24" fmla="*/ 30 w 93"/>
                <a:gd name="T25" fmla="*/ 27 h 180"/>
                <a:gd name="T26" fmla="*/ 30 w 93"/>
                <a:gd name="T27" fmla="*/ 2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80">
                  <a:moveTo>
                    <a:pt x="30" y="27"/>
                  </a:moveTo>
                  <a:lnTo>
                    <a:pt x="44" y="0"/>
                  </a:lnTo>
                  <a:lnTo>
                    <a:pt x="49" y="0"/>
                  </a:lnTo>
                  <a:lnTo>
                    <a:pt x="63" y="27"/>
                  </a:lnTo>
                  <a:lnTo>
                    <a:pt x="68" y="27"/>
                  </a:lnTo>
                  <a:lnTo>
                    <a:pt x="68" y="59"/>
                  </a:lnTo>
                  <a:lnTo>
                    <a:pt x="93" y="59"/>
                  </a:lnTo>
                  <a:lnTo>
                    <a:pt x="93" y="180"/>
                  </a:lnTo>
                  <a:lnTo>
                    <a:pt x="0" y="180"/>
                  </a:lnTo>
                  <a:lnTo>
                    <a:pt x="0" y="59"/>
                  </a:lnTo>
                  <a:lnTo>
                    <a:pt x="24" y="59"/>
                  </a:lnTo>
                  <a:lnTo>
                    <a:pt x="24" y="27"/>
                  </a:lnTo>
                  <a:lnTo>
                    <a:pt x="30" y="27"/>
                  </a:lnTo>
                  <a:lnTo>
                    <a:pt x="30" y="27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FD680BB-D3CB-46CD-AC82-0EF1E2DFB9B9}"/>
                </a:ext>
              </a:extLst>
            </p:cNvPr>
            <p:cNvSpPr/>
            <p:nvPr/>
          </p:nvSpPr>
          <p:spPr bwMode="auto">
            <a:xfrm>
              <a:off x="8733341" y="5882292"/>
              <a:ext cx="117995" cy="171096"/>
            </a:xfrm>
            <a:custGeom>
              <a:avLst/>
              <a:gdLst>
                <a:gd name="T0" fmla="*/ 0 w 40"/>
                <a:gd name="T1" fmla="*/ 0 h 58"/>
                <a:gd name="T2" fmla="*/ 40 w 40"/>
                <a:gd name="T3" fmla="*/ 0 h 58"/>
                <a:gd name="T4" fmla="*/ 40 w 40"/>
                <a:gd name="T5" fmla="*/ 58 h 58"/>
                <a:gd name="T6" fmla="*/ 0 w 40"/>
                <a:gd name="T7" fmla="*/ 58 h 58"/>
                <a:gd name="T8" fmla="*/ 0 w 40"/>
                <a:gd name="T9" fmla="*/ 0 h 58"/>
                <a:gd name="T10" fmla="*/ 0 w 40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58">
                  <a:moveTo>
                    <a:pt x="0" y="0"/>
                  </a:moveTo>
                  <a:lnTo>
                    <a:pt x="40" y="0"/>
                  </a:lnTo>
                  <a:lnTo>
                    <a:pt x="40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3902DE8-F754-4C6A-9A79-2C140CCFFA52}"/>
                </a:ext>
              </a:extLst>
            </p:cNvPr>
            <p:cNvSpPr/>
            <p:nvPr/>
          </p:nvSpPr>
          <p:spPr bwMode="auto">
            <a:xfrm>
              <a:off x="8869035" y="5823294"/>
              <a:ext cx="112094" cy="230094"/>
            </a:xfrm>
            <a:custGeom>
              <a:avLst/>
              <a:gdLst>
                <a:gd name="T0" fmla="*/ 0 w 38"/>
                <a:gd name="T1" fmla="*/ 0 h 79"/>
                <a:gd name="T2" fmla="*/ 38 w 38"/>
                <a:gd name="T3" fmla="*/ 0 h 79"/>
                <a:gd name="T4" fmla="*/ 38 w 38"/>
                <a:gd name="T5" fmla="*/ 79 h 79"/>
                <a:gd name="T6" fmla="*/ 0 w 38"/>
                <a:gd name="T7" fmla="*/ 79 h 79"/>
                <a:gd name="T8" fmla="*/ 0 w 38"/>
                <a:gd name="T9" fmla="*/ 0 h 79"/>
                <a:gd name="T10" fmla="*/ 0 w 38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79">
                  <a:moveTo>
                    <a:pt x="0" y="0"/>
                  </a:moveTo>
                  <a:lnTo>
                    <a:pt x="38" y="0"/>
                  </a:lnTo>
                  <a:lnTo>
                    <a:pt x="3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588F21D5-ADBE-4164-9349-CFA54029E5B8}"/>
                </a:ext>
              </a:extLst>
            </p:cNvPr>
            <p:cNvSpPr/>
            <p:nvPr/>
          </p:nvSpPr>
          <p:spPr bwMode="auto">
            <a:xfrm>
              <a:off x="6107932" y="5882292"/>
              <a:ext cx="377587" cy="171096"/>
            </a:xfrm>
            <a:custGeom>
              <a:avLst/>
              <a:gdLst>
                <a:gd name="T0" fmla="*/ 0 w 129"/>
                <a:gd name="T1" fmla="*/ 0 h 58"/>
                <a:gd name="T2" fmla="*/ 129 w 129"/>
                <a:gd name="T3" fmla="*/ 0 h 58"/>
                <a:gd name="T4" fmla="*/ 129 w 129"/>
                <a:gd name="T5" fmla="*/ 58 h 58"/>
                <a:gd name="T6" fmla="*/ 0 w 129"/>
                <a:gd name="T7" fmla="*/ 58 h 58"/>
                <a:gd name="T8" fmla="*/ 0 w 129"/>
                <a:gd name="T9" fmla="*/ 0 h 58"/>
                <a:gd name="T10" fmla="*/ 0 w 129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" h="58">
                  <a:moveTo>
                    <a:pt x="0" y="0"/>
                  </a:moveTo>
                  <a:lnTo>
                    <a:pt x="129" y="0"/>
                  </a:lnTo>
                  <a:lnTo>
                    <a:pt x="129" y="58"/>
                  </a:lnTo>
                  <a:lnTo>
                    <a:pt x="0" y="5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7D9A3931-2CDB-431C-AC0E-69CCE88C864D}"/>
                </a:ext>
              </a:extLst>
            </p:cNvPr>
            <p:cNvSpPr/>
            <p:nvPr/>
          </p:nvSpPr>
          <p:spPr bwMode="auto">
            <a:xfrm>
              <a:off x="8454305" y="4466341"/>
              <a:ext cx="595877" cy="1587046"/>
            </a:xfrm>
            <a:custGeom>
              <a:avLst/>
              <a:gdLst>
                <a:gd name="T0" fmla="*/ 145 w 200"/>
                <a:gd name="T1" fmla="*/ 446 h 538"/>
                <a:gd name="T2" fmla="*/ 195 w 200"/>
                <a:gd name="T3" fmla="*/ 446 h 538"/>
                <a:gd name="T4" fmla="*/ 195 w 200"/>
                <a:gd name="T5" fmla="*/ 456 h 538"/>
                <a:gd name="T6" fmla="*/ 200 w 200"/>
                <a:gd name="T7" fmla="*/ 456 h 538"/>
                <a:gd name="T8" fmla="*/ 200 w 200"/>
                <a:gd name="T9" fmla="*/ 538 h 538"/>
                <a:gd name="T10" fmla="*/ 145 w 200"/>
                <a:gd name="T11" fmla="*/ 538 h 538"/>
                <a:gd name="T12" fmla="*/ 95 w 200"/>
                <a:gd name="T13" fmla="*/ 538 h 538"/>
                <a:gd name="T14" fmla="*/ 46 w 200"/>
                <a:gd name="T15" fmla="*/ 538 h 538"/>
                <a:gd name="T16" fmla="*/ 34 w 200"/>
                <a:gd name="T17" fmla="*/ 538 h 538"/>
                <a:gd name="T18" fmla="*/ 0 w 200"/>
                <a:gd name="T19" fmla="*/ 538 h 538"/>
                <a:gd name="T20" fmla="*/ 0 w 200"/>
                <a:gd name="T21" fmla="*/ 482 h 538"/>
                <a:gd name="T22" fmla="*/ 34 w 200"/>
                <a:gd name="T23" fmla="*/ 482 h 538"/>
                <a:gd name="T24" fmla="*/ 34 w 200"/>
                <a:gd name="T25" fmla="*/ 287 h 538"/>
                <a:gd name="T26" fmla="*/ 55 w 200"/>
                <a:gd name="T27" fmla="*/ 287 h 538"/>
                <a:gd name="T28" fmla="*/ 55 w 200"/>
                <a:gd name="T29" fmla="*/ 152 h 538"/>
                <a:gd name="T30" fmla="*/ 55 w 200"/>
                <a:gd name="T31" fmla="*/ 146 h 538"/>
                <a:gd name="T32" fmla="*/ 67 w 200"/>
                <a:gd name="T33" fmla="*/ 146 h 538"/>
                <a:gd name="T34" fmla="*/ 67 w 200"/>
                <a:gd name="T35" fmla="*/ 64 h 538"/>
                <a:gd name="T36" fmla="*/ 72 w 200"/>
                <a:gd name="T37" fmla="*/ 64 h 538"/>
                <a:gd name="T38" fmla="*/ 74 w 200"/>
                <a:gd name="T39" fmla="*/ 31 h 538"/>
                <a:gd name="T40" fmla="*/ 76 w 200"/>
                <a:gd name="T41" fmla="*/ 64 h 538"/>
                <a:gd name="T42" fmla="*/ 84 w 200"/>
                <a:gd name="T43" fmla="*/ 64 h 538"/>
                <a:gd name="T44" fmla="*/ 86 w 200"/>
                <a:gd name="T45" fmla="*/ 0 h 538"/>
                <a:gd name="T46" fmla="*/ 88 w 200"/>
                <a:gd name="T47" fmla="*/ 64 h 538"/>
                <a:gd name="T48" fmla="*/ 99 w 200"/>
                <a:gd name="T49" fmla="*/ 64 h 538"/>
                <a:gd name="T50" fmla="*/ 99 w 200"/>
                <a:gd name="T51" fmla="*/ 64 h 538"/>
                <a:gd name="T52" fmla="*/ 95 w 200"/>
                <a:gd name="T53" fmla="*/ 64 h 538"/>
                <a:gd name="T54" fmla="*/ 97 w 200"/>
                <a:gd name="T55" fmla="*/ 23 h 538"/>
                <a:gd name="T56" fmla="*/ 99 w 200"/>
                <a:gd name="T57" fmla="*/ 60 h 538"/>
                <a:gd name="T58" fmla="*/ 109 w 200"/>
                <a:gd name="T59" fmla="*/ 60 h 538"/>
                <a:gd name="T60" fmla="*/ 109 w 200"/>
                <a:gd name="T61" fmla="*/ 52 h 538"/>
                <a:gd name="T62" fmla="*/ 111 w 200"/>
                <a:gd name="T63" fmla="*/ 64 h 538"/>
                <a:gd name="T64" fmla="*/ 109 w 200"/>
                <a:gd name="T65" fmla="*/ 64 h 538"/>
                <a:gd name="T66" fmla="*/ 109 w 200"/>
                <a:gd name="T67" fmla="*/ 64 h 538"/>
                <a:gd name="T68" fmla="*/ 111 w 200"/>
                <a:gd name="T69" fmla="*/ 64 h 538"/>
                <a:gd name="T70" fmla="*/ 111 w 200"/>
                <a:gd name="T71" fmla="*/ 146 h 538"/>
                <a:gd name="T72" fmla="*/ 120 w 200"/>
                <a:gd name="T73" fmla="*/ 146 h 538"/>
                <a:gd name="T74" fmla="*/ 120 w 200"/>
                <a:gd name="T75" fmla="*/ 152 h 538"/>
                <a:gd name="T76" fmla="*/ 128 w 200"/>
                <a:gd name="T77" fmla="*/ 152 h 538"/>
                <a:gd name="T78" fmla="*/ 128 w 200"/>
                <a:gd name="T79" fmla="*/ 287 h 538"/>
                <a:gd name="T80" fmla="*/ 145 w 200"/>
                <a:gd name="T81" fmla="*/ 287 h 538"/>
                <a:gd name="T82" fmla="*/ 145 w 200"/>
                <a:gd name="T83" fmla="*/ 446 h 538"/>
                <a:gd name="T84" fmla="*/ 145 w 200"/>
                <a:gd name="T85" fmla="*/ 446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0" h="538">
                  <a:moveTo>
                    <a:pt x="145" y="446"/>
                  </a:moveTo>
                  <a:lnTo>
                    <a:pt x="195" y="446"/>
                  </a:lnTo>
                  <a:lnTo>
                    <a:pt x="195" y="456"/>
                  </a:lnTo>
                  <a:lnTo>
                    <a:pt x="200" y="456"/>
                  </a:lnTo>
                  <a:lnTo>
                    <a:pt x="200" y="538"/>
                  </a:lnTo>
                  <a:lnTo>
                    <a:pt x="145" y="538"/>
                  </a:lnTo>
                  <a:lnTo>
                    <a:pt x="95" y="538"/>
                  </a:lnTo>
                  <a:lnTo>
                    <a:pt x="46" y="538"/>
                  </a:lnTo>
                  <a:lnTo>
                    <a:pt x="34" y="538"/>
                  </a:lnTo>
                  <a:lnTo>
                    <a:pt x="0" y="538"/>
                  </a:lnTo>
                  <a:lnTo>
                    <a:pt x="0" y="482"/>
                  </a:lnTo>
                  <a:lnTo>
                    <a:pt x="34" y="482"/>
                  </a:lnTo>
                  <a:lnTo>
                    <a:pt x="34" y="287"/>
                  </a:lnTo>
                  <a:lnTo>
                    <a:pt x="55" y="287"/>
                  </a:lnTo>
                  <a:lnTo>
                    <a:pt x="55" y="152"/>
                  </a:lnTo>
                  <a:lnTo>
                    <a:pt x="55" y="146"/>
                  </a:lnTo>
                  <a:lnTo>
                    <a:pt x="67" y="146"/>
                  </a:lnTo>
                  <a:lnTo>
                    <a:pt x="67" y="64"/>
                  </a:lnTo>
                  <a:lnTo>
                    <a:pt x="72" y="64"/>
                  </a:lnTo>
                  <a:lnTo>
                    <a:pt x="74" y="31"/>
                  </a:lnTo>
                  <a:lnTo>
                    <a:pt x="76" y="64"/>
                  </a:lnTo>
                  <a:lnTo>
                    <a:pt x="84" y="64"/>
                  </a:lnTo>
                  <a:lnTo>
                    <a:pt x="86" y="0"/>
                  </a:lnTo>
                  <a:lnTo>
                    <a:pt x="88" y="64"/>
                  </a:lnTo>
                  <a:lnTo>
                    <a:pt x="99" y="64"/>
                  </a:lnTo>
                  <a:lnTo>
                    <a:pt x="99" y="64"/>
                  </a:lnTo>
                  <a:lnTo>
                    <a:pt x="95" y="64"/>
                  </a:lnTo>
                  <a:lnTo>
                    <a:pt x="97" y="23"/>
                  </a:lnTo>
                  <a:lnTo>
                    <a:pt x="99" y="60"/>
                  </a:lnTo>
                  <a:lnTo>
                    <a:pt x="109" y="60"/>
                  </a:lnTo>
                  <a:lnTo>
                    <a:pt x="109" y="52"/>
                  </a:lnTo>
                  <a:lnTo>
                    <a:pt x="111" y="64"/>
                  </a:lnTo>
                  <a:lnTo>
                    <a:pt x="109" y="64"/>
                  </a:lnTo>
                  <a:lnTo>
                    <a:pt x="109" y="64"/>
                  </a:lnTo>
                  <a:lnTo>
                    <a:pt x="111" y="64"/>
                  </a:lnTo>
                  <a:lnTo>
                    <a:pt x="111" y="146"/>
                  </a:lnTo>
                  <a:lnTo>
                    <a:pt x="120" y="146"/>
                  </a:lnTo>
                  <a:lnTo>
                    <a:pt x="120" y="152"/>
                  </a:lnTo>
                  <a:lnTo>
                    <a:pt x="128" y="152"/>
                  </a:lnTo>
                  <a:lnTo>
                    <a:pt x="128" y="287"/>
                  </a:lnTo>
                  <a:lnTo>
                    <a:pt x="145" y="287"/>
                  </a:lnTo>
                  <a:lnTo>
                    <a:pt x="145" y="446"/>
                  </a:lnTo>
                  <a:lnTo>
                    <a:pt x="145" y="446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D65C478C-F05F-4862-834A-061BC27FD0CE}"/>
                </a:ext>
              </a:extLst>
            </p:cNvPr>
            <p:cNvSpPr/>
            <p:nvPr/>
          </p:nvSpPr>
          <p:spPr bwMode="auto">
            <a:xfrm>
              <a:off x="3813013" y="5050424"/>
              <a:ext cx="5330987" cy="1020666"/>
            </a:xfrm>
            <a:custGeom>
              <a:avLst/>
              <a:gdLst>
                <a:gd name="T0" fmla="*/ 2006 w 2031"/>
                <a:gd name="T1" fmla="*/ 347 h 347"/>
                <a:gd name="T2" fmla="*/ 2031 w 2031"/>
                <a:gd name="T3" fmla="*/ 347 h 347"/>
                <a:gd name="T4" fmla="*/ 2018 w 2031"/>
                <a:gd name="T5" fmla="*/ 306 h 347"/>
                <a:gd name="T6" fmla="*/ 2006 w 2031"/>
                <a:gd name="T7" fmla="*/ 324 h 347"/>
                <a:gd name="T8" fmla="*/ 1972 w 2031"/>
                <a:gd name="T9" fmla="*/ 293 h 347"/>
                <a:gd name="T10" fmla="*/ 1972 w 2031"/>
                <a:gd name="T11" fmla="*/ 347 h 347"/>
                <a:gd name="T12" fmla="*/ 13 w 2031"/>
                <a:gd name="T13" fmla="*/ 176 h 347"/>
                <a:gd name="T14" fmla="*/ 13 w 2031"/>
                <a:gd name="T15" fmla="*/ 347 h 347"/>
                <a:gd name="T16" fmla="*/ 73 w 2031"/>
                <a:gd name="T17" fmla="*/ 176 h 347"/>
                <a:gd name="T18" fmla="*/ 65 w 2031"/>
                <a:gd name="T19" fmla="*/ 159 h 347"/>
                <a:gd name="T20" fmla="*/ 8 w 2031"/>
                <a:gd name="T21" fmla="*/ 159 h 347"/>
                <a:gd name="T22" fmla="*/ 235 w 2031"/>
                <a:gd name="T23" fmla="*/ 347 h 347"/>
                <a:gd name="T24" fmla="*/ 174 w 2031"/>
                <a:gd name="T25" fmla="*/ 347 h 347"/>
                <a:gd name="T26" fmla="*/ 413 w 2031"/>
                <a:gd name="T27" fmla="*/ 129 h 347"/>
                <a:gd name="T28" fmla="*/ 388 w 2031"/>
                <a:gd name="T29" fmla="*/ 134 h 347"/>
                <a:gd name="T30" fmla="*/ 362 w 2031"/>
                <a:gd name="T31" fmla="*/ 347 h 347"/>
                <a:gd name="T32" fmla="*/ 442 w 2031"/>
                <a:gd name="T33" fmla="*/ 347 h 347"/>
                <a:gd name="T34" fmla="*/ 438 w 2031"/>
                <a:gd name="T35" fmla="*/ 150 h 347"/>
                <a:gd name="T36" fmla="*/ 413 w 2031"/>
                <a:gd name="T37" fmla="*/ 134 h 347"/>
                <a:gd name="T38" fmla="*/ 547 w 2031"/>
                <a:gd name="T39" fmla="*/ 138 h 347"/>
                <a:gd name="T40" fmla="*/ 484 w 2031"/>
                <a:gd name="T41" fmla="*/ 347 h 347"/>
                <a:gd name="T42" fmla="*/ 601 w 2031"/>
                <a:gd name="T43" fmla="*/ 220 h 347"/>
                <a:gd name="T44" fmla="*/ 559 w 2031"/>
                <a:gd name="T45" fmla="*/ 205 h 347"/>
                <a:gd name="T46" fmla="*/ 583 w 2031"/>
                <a:gd name="T47" fmla="*/ 347 h 347"/>
                <a:gd name="T48" fmla="*/ 666 w 2031"/>
                <a:gd name="T49" fmla="*/ 347 h 347"/>
                <a:gd name="T50" fmla="*/ 641 w 2031"/>
                <a:gd name="T51" fmla="*/ 347 h 347"/>
                <a:gd name="T52" fmla="*/ 719 w 2031"/>
                <a:gd name="T53" fmla="*/ 347 h 347"/>
                <a:gd name="T54" fmla="*/ 694 w 2031"/>
                <a:gd name="T55" fmla="*/ 347 h 347"/>
                <a:gd name="T56" fmla="*/ 763 w 2031"/>
                <a:gd name="T57" fmla="*/ 347 h 347"/>
                <a:gd name="T58" fmla="*/ 725 w 2031"/>
                <a:gd name="T59" fmla="*/ 347 h 347"/>
                <a:gd name="T60" fmla="*/ 876 w 2031"/>
                <a:gd name="T61" fmla="*/ 347 h 347"/>
                <a:gd name="T62" fmla="*/ 838 w 2031"/>
                <a:gd name="T63" fmla="*/ 347 h 347"/>
                <a:gd name="T64" fmla="*/ 972 w 2031"/>
                <a:gd name="T65" fmla="*/ 347 h 347"/>
                <a:gd name="T66" fmla="*/ 939 w 2031"/>
                <a:gd name="T67" fmla="*/ 347 h 347"/>
                <a:gd name="T68" fmla="*/ 1086 w 2031"/>
                <a:gd name="T69" fmla="*/ 347 h 347"/>
                <a:gd name="T70" fmla="*/ 1012 w 2031"/>
                <a:gd name="T71" fmla="*/ 347 h 347"/>
                <a:gd name="T72" fmla="*/ 1217 w 2031"/>
                <a:gd name="T73" fmla="*/ 347 h 347"/>
                <a:gd name="T74" fmla="*/ 1199 w 2031"/>
                <a:gd name="T75" fmla="*/ 6 h 347"/>
                <a:gd name="T76" fmla="*/ 1142 w 2031"/>
                <a:gd name="T77" fmla="*/ 347 h 347"/>
                <a:gd name="T78" fmla="*/ 1477 w 2031"/>
                <a:gd name="T79" fmla="*/ 289 h 347"/>
                <a:gd name="T80" fmla="*/ 1431 w 2031"/>
                <a:gd name="T81" fmla="*/ 289 h 347"/>
                <a:gd name="T82" fmla="*/ 1480 w 2031"/>
                <a:gd name="T83" fmla="*/ 347 h 347"/>
                <a:gd name="T84" fmla="*/ 1477 w 2031"/>
                <a:gd name="T85" fmla="*/ 289 h 347"/>
                <a:gd name="T86" fmla="*/ 1528 w 2031"/>
                <a:gd name="T87" fmla="*/ 253 h 347"/>
                <a:gd name="T88" fmla="*/ 1502 w 2031"/>
                <a:gd name="T89" fmla="*/ 347 h 347"/>
                <a:gd name="T90" fmla="*/ 1565 w 2031"/>
                <a:gd name="T91" fmla="*/ 285 h 347"/>
                <a:gd name="T92" fmla="*/ 1632 w 2031"/>
                <a:gd name="T93" fmla="*/ 347 h 347"/>
                <a:gd name="T94" fmla="*/ 1628 w 2031"/>
                <a:gd name="T95" fmla="*/ 155 h 347"/>
                <a:gd name="T96" fmla="*/ 1618 w 2031"/>
                <a:gd name="T97" fmla="*/ 155 h 347"/>
                <a:gd name="T98" fmla="*/ 1607 w 2031"/>
                <a:gd name="T99" fmla="*/ 163 h 347"/>
                <a:gd name="T100" fmla="*/ 1601 w 2031"/>
                <a:gd name="T101" fmla="*/ 153 h 347"/>
                <a:gd name="T102" fmla="*/ 1595 w 2031"/>
                <a:gd name="T103" fmla="*/ 163 h 347"/>
                <a:gd name="T104" fmla="*/ 1584 w 2031"/>
                <a:gd name="T105" fmla="*/ 155 h 347"/>
                <a:gd name="T106" fmla="*/ 1574 w 2031"/>
                <a:gd name="T107" fmla="*/ 155 h 347"/>
                <a:gd name="T108" fmla="*/ 1568 w 2031"/>
                <a:gd name="T109" fmla="*/ 347 h 347"/>
                <a:gd name="T110" fmla="*/ 1750 w 2031"/>
                <a:gd name="T111" fmla="*/ 129 h 347"/>
                <a:gd name="T112" fmla="*/ 1683 w 2031"/>
                <a:gd name="T113" fmla="*/ 180 h 347"/>
                <a:gd name="T114" fmla="*/ 1756 w 2031"/>
                <a:gd name="T115" fmla="*/ 180 h 347"/>
                <a:gd name="T116" fmla="*/ 1894 w 2031"/>
                <a:gd name="T117" fmla="*/ 308 h 347"/>
                <a:gd name="T118" fmla="*/ 1873 w 2031"/>
                <a:gd name="T119" fmla="*/ 308 h 347"/>
                <a:gd name="T120" fmla="*/ 1848 w 2031"/>
                <a:gd name="T121" fmla="*/ 285 h 347"/>
                <a:gd name="T122" fmla="*/ 1840 w 2031"/>
                <a:gd name="T123" fmla="*/ 335 h 347"/>
                <a:gd name="T124" fmla="*/ 1894 w 2031"/>
                <a:gd name="T125" fmla="*/ 30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31" h="347">
                  <a:moveTo>
                    <a:pt x="1972" y="347"/>
                  </a:moveTo>
                  <a:lnTo>
                    <a:pt x="2001" y="347"/>
                  </a:lnTo>
                  <a:lnTo>
                    <a:pt x="2006" y="347"/>
                  </a:lnTo>
                  <a:lnTo>
                    <a:pt x="2018" y="347"/>
                  </a:lnTo>
                  <a:lnTo>
                    <a:pt x="2022" y="347"/>
                  </a:lnTo>
                  <a:lnTo>
                    <a:pt x="2031" y="347"/>
                  </a:lnTo>
                  <a:lnTo>
                    <a:pt x="2031" y="314"/>
                  </a:lnTo>
                  <a:lnTo>
                    <a:pt x="2018" y="314"/>
                  </a:lnTo>
                  <a:lnTo>
                    <a:pt x="2018" y="306"/>
                  </a:lnTo>
                  <a:lnTo>
                    <a:pt x="2006" y="306"/>
                  </a:lnTo>
                  <a:lnTo>
                    <a:pt x="2006" y="314"/>
                  </a:lnTo>
                  <a:lnTo>
                    <a:pt x="2006" y="324"/>
                  </a:lnTo>
                  <a:lnTo>
                    <a:pt x="2001" y="324"/>
                  </a:lnTo>
                  <a:lnTo>
                    <a:pt x="2001" y="293"/>
                  </a:lnTo>
                  <a:lnTo>
                    <a:pt x="1972" y="293"/>
                  </a:lnTo>
                  <a:lnTo>
                    <a:pt x="1972" y="324"/>
                  </a:lnTo>
                  <a:lnTo>
                    <a:pt x="1972" y="347"/>
                  </a:lnTo>
                  <a:lnTo>
                    <a:pt x="1972" y="347"/>
                  </a:lnTo>
                  <a:close/>
                  <a:moveTo>
                    <a:pt x="8" y="159"/>
                  </a:moveTo>
                  <a:lnTo>
                    <a:pt x="13" y="159"/>
                  </a:lnTo>
                  <a:lnTo>
                    <a:pt x="13" y="176"/>
                  </a:lnTo>
                  <a:lnTo>
                    <a:pt x="0" y="176"/>
                  </a:lnTo>
                  <a:lnTo>
                    <a:pt x="0" y="347"/>
                  </a:lnTo>
                  <a:lnTo>
                    <a:pt x="13" y="347"/>
                  </a:lnTo>
                  <a:lnTo>
                    <a:pt x="59" y="347"/>
                  </a:lnTo>
                  <a:lnTo>
                    <a:pt x="73" y="347"/>
                  </a:lnTo>
                  <a:lnTo>
                    <a:pt x="73" y="176"/>
                  </a:lnTo>
                  <a:lnTo>
                    <a:pt x="59" y="176"/>
                  </a:lnTo>
                  <a:lnTo>
                    <a:pt x="59" y="159"/>
                  </a:lnTo>
                  <a:lnTo>
                    <a:pt x="65" y="159"/>
                  </a:lnTo>
                  <a:lnTo>
                    <a:pt x="65" y="153"/>
                  </a:lnTo>
                  <a:lnTo>
                    <a:pt x="8" y="153"/>
                  </a:lnTo>
                  <a:lnTo>
                    <a:pt x="8" y="159"/>
                  </a:lnTo>
                  <a:lnTo>
                    <a:pt x="8" y="159"/>
                  </a:lnTo>
                  <a:close/>
                  <a:moveTo>
                    <a:pt x="174" y="347"/>
                  </a:moveTo>
                  <a:lnTo>
                    <a:pt x="235" y="347"/>
                  </a:lnTo>
                  <a:lnTo>
                    <a:pt x="235" y="79"/>
                  </a:lnTo>
                  <a:lnTo>
                    <a:pt x="174" y="79"/>
                  </a:lnTo>
                  <a:lnTo>
                    <a:pt x="174" y="347"/>
                  </a:lnTo>
                  <a:lnTo>
                    <a:pt x="174" y="347"/>
                  </a:lnTo>
                  <a:close/>
                  <a:moveTo>
                    <a:pt x="413" y="134"/>
                  </a:moveTo>
                  <a:lnTo>
                    <a:pt x="413" y="129"/>
                  </a:lnTo>
                  <a:lnTo>
                    <a:pt x="406" y="129"/>
                  </a:lnTo>
                  <a:lnTo>
                    <a:pt x="406" y="134"/>
                  </a:lnTo>
                  <a:lnTo>
                    <a:pt x="388" y="134"/>
                  </a:lnTo>
                  <a:lnTo>
                    <a:pt x="388" y="150"/>
                  </a:lnTo>
                  <a:lnTo>
                    <a:pt x="362" y="150"/>
                  </a:lnTo>
                  <a:lnTo>
                    <a:pt x="362" y="347"/>
                  </a:lnTo>
                  <a:lnTo>
                    <a:pt x="367" y="347"/>
                  </a:lnTo>
                  <a:lnTo>
                    <a:pt x="438" y="347"/>
                  </a:lnTo>
                  <a:lnTo>
                    <a:pt x="442" y="347"/>
                  </a:lnTo>
                  <a:lnTo>
                    <a:pt x="442" y="167"/>
                  </a:lnTo>
                  <a:lnTo>
                    <a:pt x="438" y="167"/>
                  </a:lnTo>
                  <a:lnTo>
                    <a:pt x="438" y="150"/>
                  </a:lnTo>
                  <a:lnTo>
                    <a:pt x="413" y="150"/>
                  </a:lnTo>
                  <a:lnTo>
                    <a:pt x="413" y="134"/>
                  </a:lnTo>
                  <a:lnTo>
                    <a:pt x="413" y="134"/>
                  </a:lnTo>
                  <a:close/>
                  <a:moveTo>
                    <a:pt x="484" y="347"/>
                  </a:moveTo>
                  <a:lnTo>
                    <a:pt x="547" y="347"/>
                  </a:lnTo>
                  <a:lnTo>
                    <a:pt x="547" y="138"/>
                  </a:lnTo>
                  <a:lnTo>
                    <a:pt x="484" y="138"/>
                  </a:lnTo>
                  <a:lnTo>
                    <a:pt x="484" y="347"/>
                  </a:lnTo>
                  <a:lnTo>
                    <a:pt x="484" y="347"/>
                  </a:lnTo>
                  <a:close/>
                  <a:moveTo>
                    <a:pt x="583" y="347"/>
                  </a:moveTo>
                  <a:lnTo>
                    <a:pt x="601" y="347"/>
                  </a:lnTo>
                  <a:lnTo>
                    <a:pt x="601" y="220"/>
                  </a:lnTo>
                  <a:lnTo>
                    <a:pt x="583" y="220"/>
                  </a:lnTo>
                  <a:lnTo>
                    <a:pt x="583" y="205"/>
                  </a:lnTo>
                  <a:lnTo>
                    <a:pt x="559" y="205"/>
                  </a:lnTo>
                  <a:lnTo>
                    <a:pt x="559" y="220"/>
                  </a:lnTo>
                  <a:lnTo>
                    <a:pt x="559" y="347"/>
                  </a:lnTo>
                  <a:lnTo>
                    <a:pt x="583" y="347"/>
                  </a:lnTo>
                  <a:lnTo>
                    <a:pt x="583" y="347"/>
                  </a:lnTo>
                  <a:close/>
                  <a:moveTo>
                    <a:pt x="641" y="347"/>
                  </a:moveTo>
                  <a:lnTo>
                    <a:pt x="666" y="347"/>
                  </a:lnTo>
                  <a:lnTo>
                    <a:pt x="666" y="236"/>
                  </a:lnTo>
                  <a:lnTo>
                    <a:pt x="641" y="236"/>
                  </a:lnTo>
                  <a:lnTo>
                    <a:pt x="641" y="347"/>
                  </a:lnTo>
                  <a:lnTo>
                    <a:pt x="641" y="347"/>
                  </a:lnTo>
                  <a:close/>
                  <a:moveTo>
                    <a:pt x="694" y="347"/>
                  </a:moveTo>
                  <a:lnTo>
                    <a:pt x="719" y="347"/>
                  </a:lnTo>
                  <a:lnTo>
                    <a:pt x="719" y="280"/>
                  </a:lnTo>
                  <a:lnTo>
                    <a:pt x="694" y="280"/>
                  </a:lnTo>
                  <a:lnTo>
                    <a:pt x="694" y="347"/>
                  </a:lnTo>
                  <a:lnTo>
                    <a:pt x="694" y="347"/>
                  </a:lnTo>
                  <a:close/>
                  <a:moveTo>
                    <a:pt x="725" y="347"/>
                  </a:moveTo>
                  <a:lnTo>
                    <a:pt x="763" y="347"/>
                  </a:lnTo>
                  <a:lnTo>
                    <a:pt x="763" y="92"/>
                  </a:lnTo>
                  <a:lnTo>
                    <a:pt x="725" y="92"/>
                  </a:lnTo>
                  <a:lnTo>
                    <a:pt x="725" y="347"/>
                  </a:lnTo>
                  <a:lnTo>
                    <a:pt x="725" y="347"/>
                  </a:lnTo>
                  <a:close/>
                  <a:moveTo>
                    <a:pt x="838" y="347"/>
                  </a:moveTo>
                  <a:lnTo>
                    <a:pt x="876" y="347"/>
                  </a:lnTo>
                  <a:lnTo>
                    <a:pt x="876" y="257"/>
                  </a:lnTo>
                  <a:lnTo>
                    <a:pt x="838" y="257"/>
                  </a:lnTo>
                  <a:lnTo>
                    <a:pt x="838" y="347"/>
                  </a:lnTo>
                  <a:lnTo>
                    <a:pt x="838" y="347"/>
                  </a:lnTo>
                  <a:close/>
                  <a:moveTo>
                    <a:pt x="939" y="347"/>
                  </a:moveTo>
                  <a:lnTo>
                    <a:pt x="972" y="347"/>
                  </a:lnTo>
                  <a:lnTo>
                    <a:pt x="972" y="236"/>
                  </a:lnTo>
                  <a:lnTo>
                    <a:pt x="939" y="236"/>
                  </a:lnTo>
                  <a:lnTo>
                    <a:pt x="939" y="347"/>
                  </a:lnTo>
                  <a:lnTo>
                    <a:pt x="939" y="347"/>
                  </a:lnTo>
                  <a:close/>
                  <a:moveTo>
                    <a:pt x="1012" y="347"/>
                  </a:moveTo>
                  <a:lnTo>
                    <a:pt x="1086" y="347"/>
                  </a:lnTo>
                  <a:lnTo>
                    <a:pt x="1086" y="0"/>
                  </a:lnTo>
                  <a:lnTo>
                    <a:pt x="1012" y="0"/>
                  </a:lnTo>
                  <a:lnTo>
                    <a:pt x="1012" y="347"/>
                  </a:lnTo>
                  <a:lnTo>
                    <a:pt x="1012" y="347"/>
                  </a:lnTo>
                  <a:close/>
                  <a:moveTo>
                    <a:pt x="1199" y="347"/>
                  </a:moveTo>
                  <a:lnTo>
                    <a:pt x="1217" y="347"/>
                  </a:lnTo>
                  <a:lnTo>
                    <a:pt x="1217" y="276"/>
                  </a:lnTo>
                  <a:lnTo>
                    <a:pt x="1199" y="276"/>
                  </a:lnTo>
                  <a:lnTo>
                    <a:pt x="1199" y="6"/>
                  </a:lnTo>
                  <a:lnTo>
                    <a:pt x="1125" y="6"/>
                  </a:lnTo>
                  <a:lnTo>
                    <a:pt x="1125" y="347"/>
                  </a:lnTo>
                  <a:lnTo>
                    <a:pt x="1142" y="347"/>
                  </a:lnTo>
                  <a:lnTo>
                    <a:pt x="1199" y="347"/>
                  </a:lnTo>
                  <a:lnTo>
                    <a:pt x="1199" y="347"/>
                  </a:lnTo>
                  <a:close/>
                  <a:moveTo>
                    <a:pt x="1477" y="289"/>
                  </a:moveTo>
                  <a:lnTo>
                    <a:pt x="1477" y="146"/>
                  </a:lnTo>
                  <a:lnTo>
                    <a:pt x="1431" y="146"/>
                  </a:lnTo>
                  <a:lnTo>
                    <a:pt x="1431" y="289"/>
                  </a:lnTo>
                  <a:lnTo>
                    <a:pt x="1417" y="289"/>
                  </a:lnTo>
                  <a:lnTo>
                    <a:pt x="1417" y="347"/>
                  </a:lnTo>
                  <a:lnTo>
                    <a:pt x="1480" y="347"/>
                  </a:lnTo>
                  <a:lnTo>
                    <a:pt x="1480" y="289"/>
                  </a:lnTo>
                  <a:lnTo>
                    <a:pt x="1477" y="289"/>
                  </a:lnTo>
                  <a:lnTo>
                    <a:pt x="1477" y="289"/>
                  </a:lnTo>
                  <a:close/>
                  <a:moveTo>
                    <a:pt x="1565" y="285"/>
                  </a:moveTo>
                  <a:lnTo>
                    <a:pt x="1565" y="253"/>
                  </a:lnTo>
                  <a:lnTo>
                    <a:pt x="1528" y="253"/>
                  </a:lnTo>
                  <a:lnTo>
                    <a:pt x="1528" y="285"/>
                  </a:lnTo>
                  <a:lnTo>
                    <a:pt x="1502" y="285"/>
                  </a:lnTo>
                  <a:lnTo>
                    <a:pt x="1502" y="347"/>
                  </a:lnTo>
                  <a:lnTo>
                    <a:pt x="1565" y="347"/>
                  </a:lnTo>
                  <a:lnTo>
                    <a:pt x="1565" y="314"/>
                  </a:lnTo>
                  <a:lnTo>
                    <a:pt x="1565" y="285"/>
                  </a:lnTo>
                  <a:lnTo>
                    <a:pt x="1565" y="285"/>
                  </a:lnTo>
                  <a:close/>
                  <a:moveTo>
                    <a:pt x="1568" y="347"/>
                  </a:moveTo>
                  <a:lnTo>
                    <a:pt x="1632" y="347"/>
                  </a:lnTo>
                  <a:lnTo>
                    <a:pt x="1632" y="163"/>
                  </a:lnTo>
                  <a:lnTo>
                    <a:pt x="1628" y="163"/>
                  </a:lnTo>
                  <a:lnTo>
                    <a:pt x="1628" y="155"/>
                  </a:lnTo>
                  <a:lnTo>
                    <a:pt x="1626" y="155"/>
                  </a:lnTo>
                  <a:lnTo>
                    <a:pt x="1622" y="153"/>
                  </a:lnTo>
                  <a:lnTo>
                    <a:pt x="1618" y="155"/>
                  </a:lnTo>
                  <a:lnTo>
                    <a:pt x="1616" y="155"/>
                  </a:lnTo>
                  <a:lnTo>
                    <a:pt x="1616" y="163"/>
                  </a:lnTo>
                  <a:lnTo>
                    <a:pt x="1607" y="163"/>
                  </a:lnTo>
                  <a:lnTo>
                    <a:pt x="1607" y="155"/>
                  </a:lnTo>
                  <a:lnTo>
                    <a:pt x="1605" y="155"/>
                  </a:lnTo>
                  <a:lnTo>
                    <a:pt x="1601" y="153"/>
                  </a:lnTo>
                  <a:lnTo>
                    <a:pt x="1597" y="155"/>
                  </a:lnTo>
                  <a:lnTo>
                    <a:pt x="1595" y="155"/>
                  </a:lnTo>
                  <a:lnTo>
                    <a:pt x="1595" y="163"/>
                  </a:lnTo>
                  <a:lnTo>
                    <a:pt x="1586" y="163"/>
                  </a:lnTo>
                  <a:lnTo>
                    <a:pt x="1586" y="155"/>
                  </a:lnTo>
                  <a:lnTo>
                    <a:pt x="1584" y="155"/>
                  </a:lnTo>
                  <a:lnTo>
                    <a:pt x="1580" y="153"/>
                  </a:lnTo>
                  <a:lnTo>
                    <a:pt x="1576" y="155"/>
                  </a:lnTo>
                  <a:lnTo>
                    <a:pt x="1574" y="155"/>
                  </a:lnTo>
                  <a:lnTo>
                    <a:pt x="1574" y="163"/>
                  </a:lnTo>
                  <a:lnTo>
                    <a:pt x="1568" y="163"/>
                  </a:lnTo>
                  <a:lnTo>
                    <a:pt x="1568" y="347"/>
                  </a:lnTo>
                  <a:lnTo>
                    <a:pt x="1568" y="347"/>
                  </a:lnTo>
                  <a:close/>
                  <a:moveTo>
                    <a:pt x="1750" y="180"/>
                  </a:moveTo>
                  <a:lnTo>
                    <a:pt x="1750" y="129"/>
                  </a:lnTo>
                  <a:lnTo>
                    <a:pt x="1704" y="129"/>
                  </a:lnTo>
                  <a:lnTo>
                    <a:pt x="1704" y="180"/>
                  </a:lnTo>
                  <a:lnTo>
                    <a:pt x="1683" y="180"/>
                  </a:lnTo>
                  <a:lnTo>
                    <a:pt x="1683" y="347"/>
                  </a:lnTo>
                  <a:lnTo>
                    <a:pt x="1756" y="347"/>
                  </a:lnTo>
                  <a:lnTo>
                    <a:pt x="1756" y="180"/>
                  </a:lnTo>
                  <a:lnTo>
                    <a:pt x="1750" y="180"/>
                  </a:lnTo>
                  <a:lnTo>
                    <a:pt x="1750" y="180"/>
                  </a:lnTo>
                  <a:close/>
                  <a:moveTo>
                    <a:pt x="1894" y="308"/>
                  </a:moveTo>
                  <a:lnTo>
                    <a:pt x="1894" y="278"/>
                  </a:lnTo>
                  <a:lnTo>
                    <a:pt x="1873" y="278"/>
                  </a:lnTo>
                  <a:lnTo>
                    <a:pt x="1873" y="308"/>
                  </a:lnTo>
                  <a:lnTo>
                    <a:pt x="1869" y="308"/>
                  </a:lnTo>
                  <a:lnTo>
                    <a:pt x="1869" y="285"/>
                  </a:lnTo>
                  <a:lnTo>
                    <a:pt x="1848" y="285"/>
                  </a:lnTo>
                  <a:lnTo>
                    <a:pt x="1848" y="308"/>
                  </a:lnTo>
                  <a:lnTo>
                    <a:pt x="1840" y="308"/>
                  </a:lnTo>
                  <a:lnTo>
                    <a:pt x="1840" y="335"/>
                  </a:lnTo>
                  <a:lnTo>
                    <a:pt x="1911" y="335"/>
                  </a:lnTo>
                  <a:lnTo>
                    <a:pt x="1911" y="308"/>
                  </a:lnTo>
                  <a:lnTo>
                    <a:pt x="1894" y="308"/>
                  </a:lnTo>
                  <a:lnTo>
                    <a:pt x="1894" y="308"/>
                  </a:lnTo>
                  <a:close/>
                </a:path>
              </a:pathLst>
            </a:custGeom>
            <a:solidFill>
              <a:schemeClr val="bg1">
                <a:lumMod val="85000"/>
                <a:alpha val="19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BF20F748-132E-4C96-BBEB-A70517E9351A}"/>
              </a:ext>
            </a:extLst>
          </p:cNvPr>
          <p:cNvSpPr/>
          <p:nvPr/>
        </p:nvSpPr>
        <p:spPr>
          <a:xfrm>
            <a:off x="4575143" y="1130296"/>
            <a:ext cx="3041714" cy="76691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reflection blurRad="6350" stA="24000" endPos="3850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/>
            <a:r>
              <a:rPr lang="en-US" altLang="zh-CN" sz="3200" spc="100" dirty="0">
                <a:cs typeface="+mn-ea"/>
                <a:sym typeface="+mn-lt"/>
              </a:rPr>
              <a:t>Contents</a:t>
            </a:r>
            <a:endParaRPr lang="zh-CN" altLang="en-US" sz="3200" spc="100" dirty="0"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695CD39-70C1-45DC-B79F-6C94062937D5}"/>
              </a:ext>
            </a:extLst>
          </p:cNvPr>
          <p:cNvSpPr/>
          <p:nvPr/>
        </p:nvSpPr>
        <p:spPr>
          <a:xfrm>
            <a:off x="673100" y="3165314"/>
            <a:ext cx="10845799" cy="3168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76763015-7E4A-41CA-B6FC-2756C92E2475}"/>
              </a:ext>
            </a:extLst>
          </p:cNvPr>
          <p:cNvSpPr/>
          <p:nvPr/>
        </p:nvSpPr>
        <p:spPr bwMode="auto">
          <a:xfrm>
            <a:off x="673100" y="3873501"/>
            <a:ext cx="194934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E98073E7-B1B1-4512-93C0-8C8FC3281362}"/>
              </a:ext>
            </a:extLst>
          </p:cNvPr>
          <p:cNvSpPr/>
          <p:nvPr/>
        </p:nvSpPr>
        <p:spPr>
          <a:xfrm>
            <a:off x="673100" y="4265614"/>
            <a:ext cx="1949341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2F0F803C-C420-46CD-A88B-57D43DE76715}"/>
              </a:ext>
            </a:extLst>
          </p:cNvPr>
          <p:cNvSpPr/>
          <p:nvPr/>
        </p:nvSpPr>
        <p:spPr bwMode="auto">
          <a:xfrm>
            <a:off x="932229" y="2327813"/>
            <a:ext cx="143108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i="1" u="sng" kern="0">
                <a:cs typeface="+mn-ea"/>
                <a:sym typeface="+mn-lt"/>
              </a:rPr>
              <a:t>01</a:t>
            </a:r>
            <a:endParaRPr lang="zh-CN" altLang="en-US" sz="1600" i="1" u="sng" kern="0" dirty="0"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A91857BE-0F6B-4D6D-BA2B-A4BC36F6D921}"/>
              </a:ext>
            </a:extLst>
          </p:cNvPr>
          <p:cNvSpPr/>
          <p:nvPr/>
        </p:nvSpPr>
        <p:spPr bwMode="auto">
          <a:xfrm>
            <a:off x="1245178" y="2871498"/>
            <a:ext cx="805185" cy="904455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8A2B55E8-7D24-4F6B-BCBC-4328712B8EFA}"/>
              </a:ext>
            </a:extLst>
          </p:cNvPr>
          <p:cNvSpPr/>
          <p:nvPr/>
        </p:nvSpPr>
        <p:spPr>
          <a:xfrm>
            <a:off x="1485931" y="3212868"/>
            <a:ext cx="323678" cy="375392"/>
          </a:xfrm>
          <a:custGeom>
            <a:avLst/>
            <a:gdLst>
              <a:gd name="connsiteX0" fmla="*/ 319112 w 489849"/>
              <a:gd name="connsiteY0" fmla="*/ 229316 h 568112"/>
              <a:gd name="connsiteX1" fmla="*/ 466776 w 489849"/>
              <a:gd name="connsiteY1" fmla="*/ 229316 h 568112"/>
              <a:gd name="connsiteX2" fmla="*/ 489849 w 489849"/>
              <a:gd name="connsiteY2" fmla="*/ 252332 h 568112"/>
              <a:gd name="connsiteX3" fmla="*/ 488926 w 489849"/>
              <a:gd name="connsiteY3" fmla="*/ 394111 h 568112"/>
              <a:gd name="connsiteX4" fmla="*/ 465854 w 489849"/>
              <a:gd name="connsiteY4" fmla="*/ 417127 h 568112"/>
              <a:gd name="connsiteX5" fmla="*/ 448318 w 489849"/>
              <a:gd name="connsiteY5" fmla="*/ 407920 h 568112"/>
              <a:gd name="connsiteX6" fmla="*/ 440012 w 489849"/>
              <a:gd name="connsiteY6" fmla="*/ 546017 h 568112"/>
              <a:gd name="connsiteX7" fmla="*/ 416017 w 489849"/>
              <a:gd name="connsiteY7" fmla="*/ 568112 h 568112"/>
              <a:gd name="connsiteX8" fmla="*/ 369872 w 489849"/>
              <a:gd name="connsiteY8" fmla="*/ 568112 h 568112"/>
              <a:gd name="connsiteX9" fmla="*/ 345877 w 489849"/>
              <a:gd name="connsiteY9" fmla="*/ 546017 h 568112"/>
              <a:gd name="connsiteX10" fmla="*/ 336648 w 489849"/>
              <a:gd name="connsiteY10" fmla="*/ 407920 h 568112"/>
              <a:gd name="connsiteX11" fmla="*/ 319112 w 489849"/>
              <a:gd name="connsiteY11" fmla="*/ 417127 h 568112"/>
              <a:gd name="connsiteX12" fmla="*/ 296963 w 489849"/>
              <a:gd name="connsiteY12" fmla="*/ 394111 h 568112"/>
              <a:gd name="connsiteX13" fmla="*/ 296040 w 489849"/>
              <a:gd name="connsiteY13" fmla="*/ 252332 h 568112"/>
              <a:gd name="connsiteX14" fmla="*/ 319112 w 489849"/>
              <a:gd name="connsiteY14" fmla="*/ 229316 h 568112"/>
              <a:gd name="connsiteX15" fmla="*/ 218220 w 489849"/>
              <a:gd name="connsiteY15" fmla="*/ 220143 h 568112"/>
              <a:gd name="connsiteX16" fmla="*/ 245442 w 489849"/>
              <a:gd name="connsiteY16" fmla="*/ 247291 h 568112"/>
              <a:gd name="connsiteX17" fmla="*/ 218220 w 489849"/>
              <a:gd name="connsiteY17" fmla="*/ 274439 h 568112"/>
              <a:gd name="connsiteX18" fmla="*/ 190998 w 489849"/>
              <a:gd name="connsiteY18" fmla="*/ 247291 h 568112"/>
              <a:gd name="connsiteX19" fmla="*/ 218220 w 489849"/>
              <a:gd name="connsiteY19" fmla="*/ 220143 h 568112"/>
              <a:gd name="connsiteX20" fmla="*/ 124127 w 489849"/>
              <a:gd name="connsiteY20" fmla="*/ 220143 h 568112"/>
              <a:gd name="connsiteX21" fmla="*/ 151349 w 489849"/>
              <a:gd name="connsiteY21" fmla="*/ 247291 h 568112"/>
              <a:gd name="connsiteX22" fmla="*/ 124127 w 489849"/>
              <a:gd name="connsiteY22" fmla="*/ 274439 h 568112"/>
              <a:gd name="connsiteX23" fmla="*/ 96905 w 489849"/>
              <a:gd name="connsiteY23" fmla="*/ 247291 h 568112"/>
              <a:gd name="connsiteX24" fmla="*/ 124127 w 489849"/>
              <a:gd name="connsiteY24" fmla="*/ 220143 h 568112"/>
              <a:gd name="connsiteX25" fmla="*/ 111618 w 489849"/>
              <a:gd name="connsiteY25" fmla="*/ 137146 h 568112"/>
              <a:gd name="connsiteX26" fmla="*/ 249963 w 489849"/>
              <a:gd name="connsiteY26" fmla="*/ 137146 h 568112"/>
              <a:gd name="connsiteX27" fmla="*/ 267487 w 489849"/>
              <a:gd name="connsiteY27" fmla="*/ 154677 h 568112"/>
              <a:gd name="connsiteX28" fmla="*/ 249963 w 489849"/>
              <a:gd name="connsiteY28" fmla="*/ 172209 h 568112"/>
              <a:gd name="connsiteX29" fmla="*/ 111618 w 489849"/>
              <a:gd name="connsiteY29" fmla="*/ 172209 h 568112"/>
              <a:gd name="connsiteX30" fmla="*/ 94094 w 489849"/>
              <a:gd name="connsiteY30" fmla="*/ 154677 h 568112"/>
              <a:gd name="connsiteX31" fmla="*/ 111618 w 489849"/>
              <a:gd name="connsiteY31" fmla="*/ 137146 h 568112"/>
              <a:gd name="connsiteX32" fmla="*/ 392944 w 489849"/>
              <a:gd name="connsiteY32" fmla="*/ 88472 h 568112"/>
              <a:gd name="connsiteX33" fmla="*/ 455673 w 489849"/>
              <a:gd name="connsiteY33" fmla="*/ 151053 h 568112"/>
              <a:gd name="connsiteX34" fmla="*/ 392944 w 489849"/>
              <a:gd name="connsiteY34" fmla="*/ 213634 h 568112"/>
              <a:gd name="connsiteX35" fmla="*/ 330215 w 489849"/>
              <a:gd name="connsiteY35" fmla="*/ 151053 h 568112"/>
              <a:gd name="connsiteX36" fmla="*/ 392944 w 489849"/>
              <a:gd name="connsiteY36" fmla="*/ 88472 h 568112"/>
              <a:gd name="connsiteX37" fmla="*/ 18450 w 489849"/>
              <a:gd name="connsiteY37" fmla="*/ 0 h 568112"/>
              <a:gd name="connsiteX38" fmla="*/ 404971 w 489849"/>
              <a:gd name="connsiteY38" fmla="*/ 0 h 568112"/>
              <a:gd name="connsiteX39" fmla="*/ 423421 w 489849"/>
              <a:gd name="connsiteY39" fmla="*/ 18421 h 568112"/>
              <a:gd name="connsiteX40" fmla="*/ 423421 w 489849"/>
              <a:gd name="connsiteY40" fmla="*/ 70920 h 568112"/>
              <a:gd name="connsiteX41" fmla="*/ 392056 w 489849"/>
              <a:gd name="connsiteY41" fmla="*/ 64473 h 568112"/>
              <a:gd name="connsiteX42" fmla="*/ 328405 w 489849"/>
              <a:gd name="connsiteY42" fmla="*/ 93947 h 568112"/>
              <a:gd name="connsiteX43" fmla="*/ 58117 w 489849"/>
              <a:gd name="connsiteY43" fmla="*/ 93947 h 568112"/>
              <a:gd name="connsiteX44" fmla="*/ 58117 w 489849"/>
              <a:gd name="connsiteY44" fmla="*/ 299340 h 568112"/>
              <a:gd name="connsiteX45" fmla="*/ 79334 w 489849"/>
              <a:gd name="connsiteY45" fmla="*/ 320524 h 568112"/>
              <a:gd name="connsiteX46" fmla="*/ 273056 w 489849"/>
              <a:gd name="connsiteY46" fmla="*/ 320524 h 568112"/>
              <a:gd name="connsiteX47" fmla="*/ 273056 w 489849"/>
              <a:gd name="connsiteY47" fmla="*/ 367497 h 568112"/>
              <a:gd name="connsiteX48" fmla="*/ 79334 w 489849"/>
              <a:gd name="connsiteY48" fmla="*/ 367497 h 568112"/>
              <a:gd name="connsiteX49" fmla="*/ 11992 w 489849"/>
              <a:gd name="connsiteY49" fmla="*/ 299340 h 568112"/>
              <a:gd name="connsiteX50" fmla="*/ 11992 w 489849"/>
              <a:gd name="connsiteY50" fmla="*/ 95789 h 568112"/>
              <a:gd name="connsiteX51" fmla="*/ 0 w 489849"/>
              <a:gd name="connsiteY51" fmla="*/ 78289 h 568112"/>
              <a:gd name="connsiteX52" fmla="*/ 0 w 489849"/>
              <a:gd name="connsiteY52" fmla="*/ 18421 h 568112"/>
              <a:gd name="connsiteX53" fmla="*/ 18450 w 489849"/>
              <a:gd name="connsiteY53" fmla="*/ 0 h 56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89849" h="568112">
                <a:moveTo>
                  <a:pt x="319112" y="229316"/>
                </a:moveTo>
                <a:cubicBezTo>
                  <a:pt x="329264" y="229316"/>
                  <a:pt x="466776" y="229316"/>
                  <a:pt x="466776" y="229316"/>
                </a:cubicBezTo>
                <a:cubicBezTo>
                  <a:pt x="479697" y="229316"/>
                  <a:pt x="489849" y="239443"/>
                  <a:pt x="489849" y="252332"/>
                </a:cubicBezTo>
                <a:lnTo>
                  <a:pt x="488926" y="394111"/>
                </a:lnTo>
                <a:cubicBezTo>
                  <a:pt x="488926" y="406079"/>
                  <a:pt x="478774" y="417127"/>
                  <a:pt x="465854" y="417127"/>
                </a:cubicBezTo>
                <a:cubicBezTo>
                  <a:pt x="459393" y="417127"/>
                  <a:pt x="452933" y="413444"/>
                  <a:pt x="448318" y="407920"/>
                </a:cubicBezTo>
                <a:lnTo>
                  <a:pt x="440012" y="546017"/>
                </a:lnTo>
                <a:cubicBezTo>
                  <a:pt x="439090" y="558906"/>
                  <a:pt x="428938" y="568112"/>
                  <a:pt x="416017" y="568112"/>
                </a:cubicBezTo>
                <a:lnTo>
                  <a:pt x="369872" y="568112"/>
                </a:lnTo>
                <a:cubicBezTo>
                  <a:pt x="356951" y="568112"/>
                  <a:pt x="346800" y="558906"/>
                  <a:pt x="345877" y="546017"/>
                </a:cubicBezTo>
                <a:lnTo>
                  <a:pt x="336648" y="407920"/>
                </a:lnTo>
                <a:cubicBezTo>
                  <a:pt x="332956" y="413444"/>
                  <a:pt x="326496" y="417127"/>
                  <a:pt x="319112" y="417127"/>
                </a:cubicBezTo>
                <a:cubicBezTo>
                  <a:pt x="307115" y="417127"/>
                  <a:pt x="296963" y="406079"/>
                  <a:pt x="296963" y="394111"/>
                </a:cubicBezTo>
                <a:lnTo>
                  <a:pt x="296040" y="252332"/>
                </a:lnTo>
                <a:cubicBezTo>
                  <a:pt x="296040" y="239443"/>
                  <a:pt x="306192" y="229316"/>
                  <a:pt x="319112" y="229316"/>
                </a:cubicBezTo>
                <a:close/>
                <a:moveTo>
                  <a:pt x="218220" y="220143"/>
                </a:moveTo>
                <a:cubicBezTo>
                  <a:pt x="233254" y="220143"/>
                  <a:pt x="245442" y="232298"/>
                  <a:pt x="245442" y="247291"/>
                </a:cubicBezTo>
                <a:cubicBezTo>
                  <a:pt x="245442" y="262284"/>
                  <a:pt x="233254" y="274439"/>
                  <a:pt x="218220" y="274439"/>
                </a:cubicBezTo>
                <a:cubicBezTo>
                  <a:pt x="203186" y="274439"/>
                  <a:pt x="190998" y="262284"/>
                  <a:pt x="190998" y="247291"/>
                </a:cubicBezTo>
                <a:cubicBezTo>
                  <a:pt x="190998" y="232298"/>
                  <a:pt x="203186" y="220143"/>
                  <a:pt x="218220" y="220143"/>
                </a:cubicBezTo>
                <a:close/>
                <a:moveTo>
                  <a:pt x="124127" y="220143"/>
                </a:moveTo>
                <a:cubicBezTo>
                  <a:pt x="139161" y="220143"/>
                  <a:pt x="151349" y="232298"/>
                  <a:pt x="151349" y="247291"/>
                </a:cubicBezTo>
                <a:cubicBezTo>
                  <a:pt x="151349" y="262284"/>
                  <a:pt x="139161" y="274439"/>
                  <a:pt x="124127" y="274439"/>
                </a:cubicBezTo>
                <a:cubicBezTo>
                  <a:pt x="109093" y="274439"/>
                  <a:pt x="96905" y="262284"/>
                  <a:pt x="96905" y="247291"/>
                </a:cubicBezTo>
                <a:cubicBezTo>
                  <a:pt x="96905" y="232298"/>
                  <a:pt x="109093" y="220143"/>
                  <a:pt x="124127" y="220143"/>
                </a:cubicBezTo>
                <a:close/>
                <a:moveTo>
                  <a:pt x="111618" y="137146"/>
                </a:moveTo>
                <a:lnTo>
                  <a:pt x="249963" y="137146"/>
                </a:lnTo>
                <a:cubicBezTo>
                  <a:pt x="259186" y="137146"/>
                  <a:pt x="267487" y="144528"/>
                  <a:pt x="267487" y="154677"/>
                </a:cubicBezTo>
                <a:cubicBezTo>
                  <a:pt x="267487" y="164827"/>
                  <a:pt x="259186" y="172209"/>
                  <a:pt x="249963" y="172209"/>
                </a:cubicBezTo>
                <a:lnTo>
                  <a:pt x="111618" y="172209"/>
                </a:lnTo>
                <a:cubicBezTo>
                  <a:pt x="101472" y="172209"/>
                  <a:pt x="94094" y="163905"/>
                  <a:pt x="94094" y="154677"/>
                </a:cubicBezTo>
                <a:cubicBezTo>
                  <a:pt x="94094" y="144528"/>
                  <a:pt x="101472" y="137146"/>
                  <a:pt x="111618" y="137146"/>
                </a:cubicBezTo>
                <a:close/>
                <a:moveTo>
                  <a:pt x="392944" y="88472"/>
                </a:moveTo>
                <a:cubicBezTo>
                  <a:pt x="427588" y="88472"/>
                  <a:pt x="455673" y="116490"/>
                  <a:pt x="455673" y="151053"/>
                </a:cubicBezTo>
                <a:cubicBezTo>
                  <a:pt x="455673" y="185616"/>
                  <a:pt x="427588" y="213634"/>
                  <a:pt x="392944" y="213634"/>
                </a:cubicBezTo>
                <a:cubicBezTo>
                  <a:pt x="358300" y="213634"/>
                  <a:pt x="330215" y="185616"/>
                  <a:pt x="330215" y="151053"/>
                </a:cubicBezTo>
                <a:cubicBezTo>
                  <a:pt x="330215" y="116490"/>
                  <a:pt x="358300" y="88472"/>
                  <a:pt x="392944" y="88472"/>
                </a:cubicBezTo>
                <a:close/>
                <a:moveTo>
                  <a:pt x="18450" y="0"/>
                </a:moveTo>
                <a:lnTo>
                  <a:pt x="404971" y="0"/>
                </a:lnTo>
                <a:cubicBezTo>
                  <a:pt x="415119" y="0"/>
                  <a:pt x="423421" y="8289"/>
                  <a:pt x="423421" y="18421"/>
                </a:cubicBezTo>
                <a:lnTo>
                  <a:pt x="423421" y="70920"/>
                </a:lnTo>
                <a:cubicBezTo>
                  <a:pt x="414196" y="67236"/>
                  <a:pt x="403126" y="64473"/>
                  <a:pt x="392056" y="64473"/>
                </a:cubicBezTo>
                <a:cubicBezTo>
                  <a:pt x="367149" y="64473"/>
                  <a:pt x="344087" y="75526"/>
                  <a:pt x="328405" y="93947"/>
                </a:cubicBezTo>
                <a:lnTo>
                  <a:pt x="58117" y="93947"/>
                </a:lnTo>
                <a:lnTo>
                  <a:pt x="58117" y="299340"/>
                </a:lnTo>
                <a:cubicBezTo>
                  <a:pt x="58117" y="311313"/>
                  <a:pt x="68264" y="320524"/>
                  <a:pt x="79334" y="320524"/>
                </a:cubicBezTo>
                <a:lnTo>
                  <a:pt x="273056" y="320524"/>
                </a:lnTo>
                <a:lnTo>
                  <a:pt x="273056" y="367497"/>
                </a:lnTo>
                <a:lnTo>
                  <a:pt x="79334" y="367497"/>
                </a:lnTo>
                <a:cubicBezTo>
                  <a:pt x="42434" y="367497"/>
                  <a:pt x="11992" y="337103"/>
                  <a:pt x="11992" y="299340"/>
                </a:cubicBezTo>
                <a:lnTo>
                  <a:pt x="11992" y="95789"/>
                </a:lnTo>
                <a:cubicBezTo>
                  <a:pt x="5535" y="93026"/>
                  <a:pt x="0" y="86578"/>
                  <a:pt x="0" y="78289"/>
                </a:cubicBezTo>
                <a:lnTo>
                  <a:pt x="0" y="18421"/>
                </a:lnTo>
                <a:cubicBezTo>
                  <a:pt x="0" y="8289"/>
                  <a:pt x="8302" y="0"/>
                  <a:pt x="18450" y="0"/>
                </a:cubicBezTo>
                <a:close/>
              </a:path>
            </a:pathLst>
          </a:cu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EB0F06F0-7E80-4C55-9033-3229FAFE507E}"/>
              </a:ext>
            </a:extLst>
          </p:cNvPr>
          <p:cNvSpPr/>
          <p:nvPr/>
        </p:nvSpPr>
        <p:spPr bwMode="auto">
          <a:xfrm>
            <a:off x="2897215" y="3873501"/>
            <a:ext cx="194934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9744E0F1-7AED-4858-9FE4-ACFC4310958C}"/>
              </a:ext>
            </a:extLst>
          </p:cNvPr>
          <p:cNvSpPr/>
          <p:nvPr/>
        </p:nvSpPr>
        <p:spPr>
          <a:xfrm>
            <a:off x="2897215" y="4265614"/>
            <a:ext cx="1949341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0BDBA6E7-0C73-4E2A-AE18-FF7AD941B7E9}"/>
              </a:ext>
            </a:extLst>
          </p:cNvPr>
          <p:cNvSpPr/>
          <p:nvPr/>
        </p:nvSpPr>
        <p:spPr bwMode="auto">
          <a:xfrm>
            <a:off x="3469293" y="2871498"/>
            <a:ext cx="805185" cy="904455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76950F3C-721F-4987-8B69-B6C789DAE1B3}"/>
              </a:ext>
            </a:extLst>
          </p:cNvPr>
          <p:cNvSpPr/>
          <p:nvPr/>
        </p:nvSpPr>
        <p:spPr>
          <a:xfrm>
            <a:off x="3710046" y="3212868"/>
            <a:ext cx="323678" cy="375392"/>
          </a:xfrm>
          <a:custGeom>
            <a:avLst/>
            <a:gdLst>
              <a:gd name="connsiteX0" fmla="*/ 319112 w 489849"/>
              <a:gd name="connsiteY0" fmla="*/ 229316 h 568112"/>
              <a:gd name="connsiteX1" fmla="*/ 466776 w 489849"/>
              <a:gd name="connsiteY1" fmla="*/ 229316 h 568112"/>
              <a:gd name="connsiteX2" fmla="*/ 489849 w 489849"/>
              <a:gd name="connsiteY2" fmla="*/ 252332 h 568112"/>
              <a:gd name="connsiteX3" fmla="*/ 488926 w 489849"/>
              <a:gd name="connsiteY3" fmla="*/ 394111 h 568112"/>
              <a:gd name="connsiteX4" fmla="*/ 465854 w 489849"/>
              <a:gd name="connsiteY4" fmla="*/ 417127 h 568112"/>
              <a:gd name="connsiteX5" fmla="*/ 448318 w 489849"/>
              <a:gd name="connsiteY5" fmla="*/ 407920 h 568112"/>
              <a:gd name="connsiteX6" fmla="*/ 440012 w 489849"/>
              <a:gd name="connsiteY6" fmla="*/ 546017 h 568112"/>
              <a:gd name="connsiteX7" fmla="*/ 416017 w 489849"/>
              <a:gd name="connsiteY7" fmla="*/ 568112 h 568112"/>
              <a:gd name="connsiteX8" fmla="*/ 369872 w 489849"/>
              <a:gd name="connsiteY8" fmla="*/ 568112 h 568112"/>
              <a:gd name="connsiteX9" fmla="*/ 345877 w 489849"/>
              <a:gd name="connsiteY9" fmla="*/ 546017 h 568112"/>
              <a:gd name="connsiteX10" fmla="*/ 336648 w 489849"/>
              <a:gd name="connsiteY10" fmla="*/ 407920 h 568112"/>
              <a:gd name="connsiteX11" fmla="*/ 319112 w 489849"/>
              <a:gd name="connsiteY11" fmla="*/ 417127 h 568112"/>
              <a:gd name="connsiteX12" fmla="*/ 296963 w 489849"/>
              <a:gd name="connsiteY12" fmla="*/ 394111 h 568112"/>
              <a:gd name="connsiteX13" fmla="*/ 296040 w 489849"/>
              <a:gd name="connsiteY13" fmla="*/ 252332 h 568112"/>
              <a:gd name="connsiteX14" fmla="*/ 319112 w 489849"/>
              <a:gd name="connsiteY14" fmla="*/ 229316 h 568112"/>
              <a:gd name="connsiteX15" fmla="*/ 218220 w 489849"/>
              <a:gd name="connsiteY15" fmla="*/ 220143 h 568112"/>
              <a:gd name="connsiteX16" fmla="*/ 245442 w 489849"/>
              <a:gd name="connsiteY16" fmla="*/ 247291 h 568112"/>
              <a:gd name="connsiteX17" fmla="*/ 218220 w 489849"/>
              <a:gd name="connsiteY17" fmla="*/ 274439 h 568112"/>
              <a:gd name="connsiteX18" fmla="*/ 190998 w 489849"/>
              <a:gd name="connsiteY18" fmla="*/ 247291 h 568112"/>
              <a:gd name="connsiteX19" fmla="*/ 218220 w 489849"/>
              <a:gd name="connsiteY19" fmla="*/ 220143 h 568112"/>
              <a:gd name="connsiteX20" fmla="*/ 124127 w 489849"/>
              <a:gd name="connsiteY20" fmla="*/ 220143 h 568112"/>
              <a:gd name="connsiteX21" fmla="*/ 151349 w 489849"/>
              <a:gd name="connsiteY21" fmla="*/ 247291 h 568112"/>
              <a:gd name="connsiteX22" fmla="*/ 124127 w 489849"/>
              <a:gd name="connsiteY22" fmla="*/ 274439 h 568112"/>
              <a:gd name="connsiteX23" fmla="*/ 96905 w 489849"/>
              <a:gd name="connsiteY23" fmla="*/ 247291 h 568112"/>
              <a:gd name="connsiteX24" fmla="*/ 124127 w 489849"/>
              <a:gd name="connsiteY24" fmla="*/ 220143 h 568112"/>
              <a:gd name="connsiteX25" fmla="*/ 111618 w 489849"/>
              <a:gd name="connsiteY25" fmla="*/ 137146 h 568112"/>
              <a:gd name="connsiteX26" fmla="*/ 249963 w 489849"/>
              <a:gd name="connsiteY26" fmla="*/ 137146 h 568112"/>
              <a:gd name="connsiteX27" fmla="*/ 267487 w 489849"/>
              <a:gd name="connsiteY27" fmla="*/ 154677 h 568112"/>
              <a:gd name="connsiteX28" fmla="*/ 249963 w 489849"/>
              <a:gd name="connsiteY28" fmla="*/ 172209 h 568112"/>
              <a:gd name="connsiteX29" fmla="*/ 111618 w 489849"/>
              <a:gd name="connsiteY29" fmla="*/ 172209 h 568112"/>
              <a:gd name="connsiteX30" fmla="*/ 94094 w 489849"/>
              <a:gd name="connsiteY30" fmla="*/ 154677 h 568112"/>
              <a:gd name="connsiteX31" fmla="*/ 111618 w 489849"/>
              <a:gd name="connsiteY31" fmla="*/ 137146 h 568112"/>
              <a:gd name="connsiteX32" fmla="*/ 392944 w 489849"/>
              <a:gd name="connsiteY32" fmla="*/ 88472 h 568112"/>
              <a:gd name="connsiteX33" fmla="*/ 455673 w 489849"/>
              <a:gd name="connsiteY33" fmla="*/ 151053 h 568112"/>
              <a:gd name="connsiteX34" fmla="*/ 392944 w 489849"/>
              <a:gd name="connsiteY34" fmla="*/ 213634 h 568112"/>
              <a:gd name="connsiteX35" fmla="*/ 330215 w 489849"/>
              <a:gd name="connsiteY35" fmla="*/ 151053 h 568112"/>
              <a:gd name="connsiteX36" fmla="*/ 392944 w 489849"/>
              <a:gd name="connsiteY36" fmla="*/ 88472 h 568112"/>
              <a:gd name="connsiteX37" fmla="*/ 18450 w 489849"/>
              <a:gd name="connsiteY37" fmla="*/ 0 h 568112"/>
              <a:gd name="connsiteX38" fmla="*/ 404971 w 489849"/>
              <a:gd name="connsiteY38" fmla="*/ 0 h 568112"/>
              <a:gd name="connsiteX39" fmla="*/ 423421 w 489849"/>
              <a:gd name="connsiteY39" fmla="*/ 18421 h 568112"/>
              <a:gd name="connsiteX40" fmla="*/ 423421 w 489849"/>
              <a:gd name="connsiteY40" fmla="*/ 70920 h 568112"/>
              <a:gd name="connsiteX41" fmla="*/ 392056 w 489849"/>
              <a:gd name="connsiteY41" fmla="*/ 64473 h 568112"/>
              <a:gd name="connsiteX42" fmla="*/ 328405 w 489849"/>
              <a:gd name="connsiteY42" fmla="*/ 93947 h 568112"/>
              <a:gd name="connsiteX43" fmla="*/ 58117 w 489849"/>
              <a:gd name="connsiteY43" fmla="*/ 93947 h 568112"/>
              <a:gd name="connsiteX44" fmla="*/ 58117 w 489849"/>
              <a:gd name="connsiteY44" fmla="*/ 299340 h 568112"/>
              <a:gd name="connsiteX45" fmla="*/ 79334 w 489849"/>
              <a:gd name="connsiteY45" fmla="*/ 320524 h 568112"/>
              <a:gd name="connsiteX46" fmla="*/ 273056 w 489849"/>
              <a:gd name="connsiteY46" fmla="*/ 320524 h 568112"/>
              <a:gd name="connsiteX47" fmla="*/ 273056 w 489849"/>
              <a:gd name="connsiteY47" fmla="*/ 367497 h 568112"/>
              <a:gd name="connsiteX48" fmla="*/ 79334 w 489849"/>
              <a:gd name="connsiteY48" fmla="*/ 367497 h 568112"/>
              <a:gd name="connsiteX49" fmla="*/ 11992 w 489849"/>
              <a:gd name="connsiteY49" fmla="*/ 299340 h 568112"/>
              <a:gd name="connsiteX50" fmla="*/ 11992 w 489849"/>
              <a:gd name="connsiteY50" fmla="*/ 95789 h 568112"/>
              <a:gd name="connsiteX51" fmla="*/ 0 w 489849"/>
              <a:gd name="connsiteY51" fmla="*/ 78289 h 568112"/>
              <a:gd name="connsiteX52" fmla="*/ 0 w 489849"/>
              <a:gd name="connsiteY52" fmla="*/ 18421 h 568112"/>
              <a:gd name="connsiteX53" fmla="*/ 18450 w 489849"/>
              <a:gd name="connsiteY53" fmla="*/ 0 h 56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89849" h="568112">
                <a:moveTo>
                  <a:pt x="319112" y="229316"/>
                </a:moveTo>
                <a:cubicBezTo>
                  <a:pt x="329264" y="229316"/>
                  <a:pt x="466776" y="229316"/>
                  <a:pt x="466776" y="229316"/>
                </a:cubicBezTo>
                <a:cubicBezTo>
                  <a:pt x="479697" y="229316"/>
                  <a:pt x="489849" y="239443"/>
                  <a:pt x="489849" y="252332"/>
                </a:cubicBezTo>
                <a:lnTo>
                  <a:pt x="488926" y="394111"/>
                </a:lnTo>
                <a:cubicBezTo>
                  <a:pt x="488926" y="406079"/>
                  <a:pt x="478774" y="417127"/>
                  <a:pt x="465854" y="417127"/>
                </a:cubicBezTo>
                <a:cubicBezTo>
                  <a:pt x="459393" y="417127"/>
                  <a:pt x="452933" y="413444"/>
                  <a:pt x="448318" y="407920"/>
                </a:cubicBezTo>
                <a:lnTo>
                  <a:pt x="440012" y="546017"/>
                </a:lnTo>
                <a:cubicBezTo>
                  <a:pt x="439090" y="558906"/>
                  <a:pt x="428938" y="568112"/>
                  <a:pt x="416017" y="568112"/>
                </a:cubicBezTo>
                <a:lnTo>
                  <a:pt x="369872" y="568112"/>
                </a:lnTo>
                <a:cubicBezTo>
                  <a:pt x="356951" y="568112"/>
                  <a:pt x="346800" y="558906"/>
                  <a:pt x="345877" y="546017"/>
                </a:cubicBezTo>
                <a:lnTo>
                  <a:pt x="336648" y="407920"/>
                </a:lnTo>
                <a:cubicBezTo>
                  <a:pt x="332956" y="413444"/>
                  <a:pt x="326496" y="417127"/>
                  <a:pt x="319112" y="417127"/>
                </a:cubicBezTo>
                <a:cubicBezTo>
                  <a:pt x="307115" y="417127"/>
                  <a:pt x="296963" y="406079"/>
                  <a:pt x="296963" y="394111"/>
                </a:cubicBezTo>
                <a:lnTo>
                  <a:pt x="296040" y="252332"/>
                </a:lnTo>
                <a:cubicBezTo>
                  <a:pt x="296040" y="239443"/>
                  <a:pt x="306192" y="229316"/>
                  <a:pt x="319112" y="229316"/>
                </a:cubicBezTo>
                <a:close/>
                <a:moveTo>
                  <a:pt x="218220" y="220143"/>
                </a:moveTo>
                <a:cubicBezTo>
                  <a:pt x="233254" y="220143"/>
                  <a:pt x="245442" y="232298"/>
                  <a:pt x="245442" y="247291"/>
                </a:cubicBezTo>
                <a:cubicBezTo>
                  <a:pt x="245442" y="262284"/>
                  <a:pt x="233254" y="274439"/>
                  <a:pt x="218220" y="274439"/>
                </a:cubicBezTo>
                <a:cubicBezTo>
                  <a:pt x="203186" y="274439"/>
                  <a:pt x="190998" y="262284"/>
                  <a:pt x="190998" y="247291"/>
                </a:cubicBezTo>
                <a:cubicBezTo>
                  <a:pt x="190998" y="232298"/>
                  <a:pt x="203186" y="220143"/>
                  <a:pt x="218220" y="220143"/>
                </a:cubicBezTo>
                <a:close/>
                <a:moveTo>
                  <a:pt x="124127" y="220143"/>
                </a:moveTo>
                <a:cubicBezTo>
                  <a:pt x="139161" y="220143"/>
                  <a:pt x="151349" y="232298"/>
                  <a:pt x="151349" y="247291"/>
                </a:cubicBezTo>
                <a:cubicBezTo>
                  <a:pt x="151349" y="262284"/>
                  <a:pt x="139161" y="274439"/>
                  <a:pt x="124127" y="274439"/>
                </a:cubicBezTo>
                <a:cubicBezTo>
                  <a:pt x="109093" y="274439"/>
                  <a:pt x="96905" y="262284"/>
                  <a:pt x="96905" y="247291"/>
                </a:cubicBezTo>
                <a:cubicBezTo>
                  <a:pt x="96905" y="232298"/>
                  <a:pt x="109093" y="220143"/>
                  <a:pt x="124127" y="220143"/>
                </a:cubicBezTo>
                <a:close/>
                <a:moveTo>
                  <a:pt x="111618" y="137146"/>
                </a:moveTo>
                <a:lnTo>
                  <a:pt x="249963" y="137146"/>
                </a:lnTo>
                <a:cubicBezTo>
                  <a:pt x="259186" y="137146"/>
                  <a:pt x="267487" y="144528"/>
                  <a:pt x="267487" y="154677"/>
                </a:cubicBezTo>
                <a:cubicBezTo>
                  <a:pt x="267487" y="164827"/>
                  <a:pt x="259186" y="172209"/>
                  <a:pt x="249963" y="172209"/>
                </a:cubicBezTo>
                <a:lnTo>
                  <a:pt x="111618" y="172209"/>
                </a:lnTo>
                <a:cubicBezTo>
                  <a:pt x="101472" y="172209"/>
                  <a:pt x="94094" y="163905"/>
                  <a:pt x="94094" y="154677"/>
                </a:cubicBezTo>
                <a:cubicBezTo>
                  <a:pt x="94094" y="144528"/>
                  <a:pt x="101472" y="137146"/>
                  <a:pt x="111618" y="137146"/>
                </a:cubicBezTo>
                <a:close/>
                <a:moveTo>
                  <a:pt x="392944" y="88472"/>
                </a:moveTo>
                <a:cubicBezTo>
                  <a:pt x="427588" y="88472"/>
                  <a:pt x="455673" y="116490"/>
                  <a:pt x="455673" y="151053"/>
                </a:cubicBezTo>
                <a:cubicBezTo>
                  <a:pt x="455673" y="185616"/>
                  <a:pt x="427588" y="213634"/>
                  <a:pt x="392944" y="213634"/>
                </a:cubicBezTo>
                <a:cubicBezTo>
                  <a:pt x="358300" y="213634"/>
                  <a:pt x="330215" y="185616"/>
                  <a:pt x="330215" y="151053"/>
                </a:cubicBezTo>
                <a:cubicBezTo>
                  <a:pt x="330215" y="116490"/>
                  <a:pt x="358300" y="88472"/>
                  <a:pt x="392944" y="88472"/>
                </a:cubicBezTo>
                <a:close/>
                <a:moveTo>
                  <a:pt x="18450" y="0"/>
                </a:moveTo>
                <a:lnTo>
                  <a:pt x="404971" y="0"/>
                </a:lnTo>
                <a:cubicBezTo>
                  <a:pt x="415119" y="0"/>
                  <a:pt x="423421" y="8289"/>
                  <a:pt x="423421" y="18421"/>
                </a:cubicBezTo>
                <a:lnTo>
                  <a:pt x="423421" y="70920"/>
                </a:lnTo>
                <a:cubicBezTo>
                  <a:pt x="414196" y="67236"/>
                  <a:pt x="403126" y="64473"/>
                  <a:pt x="392056" y="64473"/>
                </a:cubicBezTo>
                <a:cubicBezTo>
                  <a:pt x="367149" y="64473"/>
                  <a:pt x="344087" y="75526"/>
                  <a:pt x="328405" y="93947"/>
                </a:cubicBezTo>
                <a:lnTo>
                  <a:pt x="58117" y="93947"/>
                </a:lnTo>
                <a:lnTo>
                  <a:pt x="58117" y="299340"/>
                </a:lnTo>
                <a:cubicBezTo>
                  <a:pt x="58117" y="311313"/>
                  <a:pt x="68264" y="320524"/>
                  <a:pt x="79334" y="320524"/>
                </a:cubicBezTo>
                <a:lnTo>
                  <a:pt x="273056" y="320524"/>
                </a:lnTo>
                <a:lnTo>
                  <a:pt x="273056" y="367497"/>
                </a:lnTo>
                <a:lnTo>
                  <a:pt x="79334" y="367497"/>
                </a:lnTo>
                <a:cubicBezTo>
                  <a:pt x="42434" y="367497"/>
                  <a:pt x="11992" y="337103"/>
                  <a:pt x="11992" y="299340"/>
                </a:cubicBezTo>
                <a:lnTo>
                  <a:pt x="11992" y="95789"/>
                </a:lnTo>
                <a:cubicBezTo>
                  <a:pt x="5535" y="93026"/>
                  <a:pt x="0" y="86578"/>
                  <a:pt x="0" y="78289"/>
                </a:cubicBezTo>
                <a:lnTo>
                  <a:pt x="0" y="18421"/>
                </a:lnTo>
                <a:cubicBezTo>
                  <a:pt x="0" y="8289"/>
                  <a:pt x="8302" y="0"/>
                  <a:pt x="18450" y="0"/>
                </a:cubicBezTo>
                <a:close/>
              </a:path>
            </a:pathLst>
          </a:custGeom>
          <a:solidFill>
            <a:schemeClr val="accent2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2233E79-EB00-4920-A5FE-05280ABD4306}"/>
              </a:ext>
            </a:extLst>
          </p:cNvPr>
          <p:cNvSpPr/>
          <p:nvPr/>
        </p:nvSpPr>
        <p:spPr bwMode="auto">
          <a:xfrm>
            <a:off x="5121329" y="3873501"/>
            <a:ext cx="194934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3903C66F-44A5-413F-B69B-1AEB367F2D27}"/>
              </a:ext>
            </a:extLst>
          </p:cNvPr>
          <p:cNvSpPr/>
          <p:nvPr/>
        </p:nvSpPr>
        <p:spPr>
          <a:xfrm>
            <a:off x="5121329" y="4265614"/>
            <a:ext cx="1949341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130D6322-573E-44D8-BD5F-F58786EC997D}"/>
              </a:ext>
            </a:extLst>
          </p:cNvPr>
          <p:cNvSpPr/>
          <p:nvPr/>
        </p:nvSpPr>
        <p:spPr bwMode="auto">
          <a:xfrm>
            <a:off x="5693408" y="2871498"/>
            <a:ext cx="805185" cy="904455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BF37572C-AB27-433C-AB64-86EE3849C40A}"/>
              </a:ext>
            </a:extLst>
          </p:cNvPr>
          <p:cNvSpPr/>
          <p:nvPr/>
        </p:nvSpPr>
        <p:spPr>
          <a:xfrm>
            <a:off x="5934161" y="3212868"/>
            <a:ext cx="323678" cy="375392"/>
          </a:xfrm>
          <a:custGeom>
            <a:avLst/>
            <a:gdLst>
              <a:gd name="connsiteX0" fmla="*/ 319112 w 489849"/>
              <a:gd name="connsiteY0" fmla="*/ 229316 h 568112"/>
              <a:gd name="connsiteX1" fmla="*/ 466776 w 489849"/>
              <a:gd name="connsiteY1" fmla="*/ 229316 h 568112"/>
              <a:gd name="connsiteX2" fmla="*/ 489849 w 489849"/>
              <a:gd name="connsiteY2" fmla="*/ 252332 h 568112"/>
              <a:gd name="connsiteX3" fmla="*/ 488926 w 489849"/>
              <a:gd name="connsiteY3" fmla="*/ 394111 h 568112"/>
              <a:gd name="connsiteX4" fmla="*/ 465854 w 489849"/>
              <a:gd name="connsiteY4" fmla="*/ 417127 h 568112"/>
              <a:gd name="connsiteX5" fmla="*/ 448318 w 489849"/>
              <a:gd name="connsiteY5" fmla="*/ 407920 h 568112"/>
              <a:gd name="connsiteX6" fmla="*/ 440012 w 489849"/>
              <a:gd name="connsiteY6" fmla="*/ 546017 h 568112"/>
              <a:gd name="connsiteX7" fmla="*/ 416017 w 489849"/>
              <a:gd name="connsiteY7" fmla="*/ 568112 h 568112"/>
              <a:gd name="connsiteX8" fmla="*/ 369872 w 489849"/>
              <a:gd name="connsiteY8" fmla="*/ 568112 h 568112"/>
              <a:gd name="connsiteX9" fmla="*/ 345877 w 489849"/>
              <a:gd name="connsiteY9" fmla="*/ 546017 h 568112"/>
              <a:gd name="connsiteX10" fmla="*/ 336648 w 489849"/>
              <a:gd name="connsiteY10" fmla="*/ 407920 h 568112"/>
              <a:gd name="connsiteX11" fmla="*/ 319112 w 489849"/>
              <a:gd name="connsiteY11" fmla="*/ 417127 h 568112"/>
              <a:gd name="connsiteX12" fmla="*/ 296963 w 489849"/>
              <a:gd name="connsiteY12" fmla="*/ 394111 h 568112"/>
              <a:gd name="connsiteX13" fmla="*/ 296040 w 489849"/>
              <a:gd name="connsiteY13" fmla="*/ 252332 h 568112"/>
              <a:gd name="connsiteX14" fmla="*/ 319112 w 489849"/>
              <a:gd name="connsiteY14" fmla="*/ 229316 h 568112"/>
              <a:gd name="connsiteX15" fmla="*/ 218220 w 489849"/>
              <a:gd name="connsiteY15" fmla="*/ 220143 h 568112"/>
              <a:gd name="connsiteX16" fmla="*/ 245442 w 489849"/>
              <a:gd name="connsiteY16" fmla="*/ 247291 h 568112"/>
              <a:gd name="connsiteX17" fmla="*/ 218220 w 489849"/>
              <a:gd name="connsiteY17" fmla="*/ 274439 h 568112"/>
              <a:gd name="connsiteX18" fmla="*/ 190998 w 489849"/>
              <a:gd name="connsiteY18" fmla="*/ 247291 h 568112"/>
              <a:gd name="connsiteX19" fmla="*/ 218220 w 489849"/>
              <a:gd name="connsiteY19" fmla="*/ 220143 h 568112"/>
              <a:gd name="connsiteX20" fmla="*/ 124127 w 489849"/>
              <a:gd name="connsiteY20" fmla="*/ 220143 h 568112"/>
              <a:gd name="connsiteX21" fmla="*/ 151349 w 489849"/>
              <a:gd name="connsiteY21" fmla="*/ 247291 h 568112"/>
              <a:gd name="connsiteX22" fmla="*/ 124127 w 489849"/>
              <a:gd name="connsiteY22" fmla="*/ 274439 h 568112"/>
              <a:gd name="connsiteX23" fmla="*/ 96905 w 489849"/>
              <a:gd name="connsiteY23" fmla="*/ 247291 h 568112"/>
              <a:gd name="connsiteX24" fmla="*/ 124127 w 489849"/>
              <a:gd name="connsiteY24" fmla="*/ 220143 h 568112"/>
              <a:gd name="connsiteX25" fmla="*/ 111618 w 489849"/>
              <a:gd name="connsiteY25" fmla="*/ 137146 h 568112"/>
              <a:gd name="connsiteX26" fmla="*/ 249963 w 489849"/>
              <a:gd name="connsiteY26" fmla="*/ 137146 h 568112"/>
              <a:gd name="connsiteX27" fmla="*/ 267487 w 489849"/>
              <a:gd name="connsiteY27" fmla="*/ 154677 h 568112"/>
              <a:gd name="connsiteX28" fmla="*/ 249963 w 489849"/>
              <a:gd name="connsiteY28" fmla="*/ 172209 h 568112"/>
              <a:gd name="connsiteX29" fmla="*/ 111618 w 489849"/>
              <a:gd name="connsiteY29" fmla="*/ 172209 h 568112"/>
              <a:gd name="connsiteX30" fmla="*/ 94094 w 489849"/>
              <a:gd name="connsiteY30" fmla="*/ 154677 h 568112"/>
              <a:gd name="connsiteX31" fmla="*/ 111618 w 489849"/>
              <a:gd name="connsiteY31" fmla="*/ 137146 h 568112"/>
              <a:gd name="connsiteX32" fmla="*/ 392944 w 489849"/>
              <a:gd name="connsiteY32" fmla="*/ 88472 h 568112"/>
              <a:gd name="connsiteX33" fmla="*/ 455673 w 489849"/>
              <a:gd name="connsiteY33" fmla="*/ 151053 h 568112"/>
              <a:gd name="connsiteX34" fmla="*/ 392944 w 489849"/>
              <a:gd name="connsiteY34" fmla="*/ 213634 h 568112"/>
              <a:gd name="connsiteX35" fmla="*/ 330215 w 489849"/>
              <a:gd name="connsiteY35" fmla="*/ 151053 h 568112"/>
              <a:gd name="connsiteX36" fmla="*/ 392944 w 489849"/>
              <a:gd name="connsiteY36" fmla="*/ 88472 h 568112"/>
              <a:gd name="connsiteX37" fmla="*/ 18450 w 489849"/>
              <a:gd name="connsiteY37" fmla="*/ 0 h 568112"/>
              <a:gd name="connsiteX38" fmla="*/ 404971 w 489849"/>
              <a:gd name="connsiteY38" fmla="*/ 0 h 568112"/>
              <a:gd name="connsiteX39" fmla="*/ 423421 w 489849"/>
              <a:gd name="connsiteY39" fmla="*/ 18421 h 568112"/>
              <a:gd name="connsiteX40" fmla="*/ 423421 w 489849"/>
              <a:gd name="connsiteY40" fmla="*/ 70920 h 568112"/>
              <a:gd name="connsiteX41" fmla="*/ 392056 w 489849"/>
              <a:gd name="connsiteY41" fmla="*/ 64473 h 568112"/>
              <a:gd name="connsiteX42" fmla="*/ 328405 w 489849"/>
              <a:gd name="connsiteY42" fmla="*/ 93947 h 568112"/>
              <a:gd name="connsiteX43" fmla="*/ 58117 w 489849"/>
              <a:gd name="connsiteY43" fmla="*/ 93947 h 568112"/>
              <a:gd name="connsiteX44" fmla="*/ 58117 w 489849"/>
              <a:gd name="connsiteY44" fmla="*/ 299340 h 568112"/>
              <a:gd name="connsiteX45" fmla="*/ 79334 w 489849"/>
              <a:gd name="connsiteY45" fmla="*/ 320524 h 568112"/>
              <a:gd name="connsiteX46" fmla="*/ 273056 w 489849"/>
              <a:gd name="connsiteY46" fmla="*/ 320524 h 568112"/>
              <a:gd name="connsiteX47" fmla="*/ 273056 w 489849"/>
              <a:gd name="connsiteY47" fmla="*/ 367497 h 568112"/>
              <a:gd name="connsiteX48" fmla="*/ 79334 w 489849"/>
              <a:gd name="connsiteY48" fmla="*/ 367497 h 568112"/>
              <a:gd name="connsiteX49" fmla="*/ 11992 w 489849"/>
              <a:gd name="connsiteY49" fmla="*/ 299340 h 568112"/>
              <a:gd name="connsiteX50" fmla="*/ 11992 w 489849"/>
              <a:gd name="connsiteY50" fmla="*/ 95789 h 568112"/>
              <a:gd name="connsiteX51" fmla="*/ 0 w 489849"/>
              <a:gd name="connsiteY51" fmla="*/ 78289 h 568112"/>
              <a:gd name="connsiteX52" fmla="*/ 0 w 489849"/>
              <a:gd name="connsiteY52" fmla="*/ 18421 h 568112"/>
              <a:gd name="connsiteX53" fmla="*/ 18450 w 489849"/>
              <a:gd name="connsiteY53" fmla="*/ 0 h 56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89849" h="568112">
                <a:moveTo>
                  <a:pt x="319112" y="229316"/>
                </a:moveTo>
                <a:cubicBezTo>
                  <a:pt x="329264" y="229316"/>
                  <a:pt x="466776" y="229316"/>
                  <a:pt x="466776" y="229316"/>
                </a:cubicBezTo>
                <a:cubicBezTo>
                  <a:pt x="479697" y="229316"/>
                  <a:pt x="489849" y="239443"/>
                  <a:pt x="489849" y="252332"/>
                </a:cubicBezTo>
                <a:lnTo>
                  <a:pt x="488926" y="394111"/>
                </a:lnTo>
                <a:cubicBezTo>
                  <a:pt x="488926" y="406079"/>
                  <a:pt x="478774" y="417127"/>
                  <a:pt x="465854" y="417127"/>
                </a:cubicBezTo>
                <a:cubicBezTo>
                  <a:pt x="459393" y="417127"/>
                  <a:pt x="452933" y="413444"/>
                  <a:pt x="448318" y="407920"/>
                </a:cubicBezTo>
                <a:lnTo>
                  <a:pt x="440012" y="546017"/>
                </a:lnTo>
                <a:cubicBezTo>
                  <a:pt x="439090" y="558906"/>
                  <a:pt x="428938" y="568112"/>
                  <a:pt x="416017" y="568112"/>
                </a:cubicBezTo>
                <a:lnTo>
                  <a:pt x="369872" y="568112"/>
                </a:lnTo>
                <a:cubicBezTo>
                  <a:pt x="356951" y="568112"/>
                  <a:pt x="346800" y="558906"/>
                  <a:pt x="345877" y="546017"/>
                </a:cubicBezTo>
                <a:lnTo>
                  <a:pt x="336648" y="407920"/>
                </a:lnTo>
                <a:cubicBezTo>
                  <a:pt x="332956" y="413444"/>
                  <a:pt x="326496" y="417127"/>
                  <a:pt x="319112" y="417127"/>
                </a:cubicBezTo>
                <a:cubicBezTo>
                  <a:pt x="307115" y="417127"/>
                  <a:pt x="296963" y="406079"/>
                  <a:pt x="296963" y="394111"/>
                </a:cubicBezTo>
                <a:lnTo>
                  <a:pt x="296040" y="252332"/>
                </a:lnTo>
                <a:cubicBezTo>
                  <a:pt x="296040" y="239443"/>
                  <a:pt x="306192" y="229316"/>
                  <a:pt x="319112" y="229316"/>
                </a:cubicBezTo>
                <a:close/>
                <a:moveTo>
                  <a:pt x="218220" y="220143"/>
                </a:moveTo>
                <a:cubicBezTo>
                  <a:pt x="233254" y="220143"/>
                  <a:pt x="245442" y="232298"/>
                  <a:pt x="245442" y="247291"/>
                </a:cubicBezTo>
                <a:cubicBezTo>
                  <a:pt x="245442" y="262284"/>
                  <a:pt x="233254" y="274439"/>
                  <a:pt x="218220" y="274439"/>
                </a:cubicBezTo>
                <a:cubicBezTo>
                  <a:pt x="203186" y="274439"/>
                  <a:pt x="190998" y="262284"/>
                  <a:pt x="190998" y="247291"/>
                </a:cubicBezTo>
                <a:cubicBezTo>
                  <a:pt x="190998" y="232298"/>
                  <a:pt x="203186" y="220143"/>
                  <a:pt x="218220" y="220143"/>
                </a:cubicBezTo>
                <a:close/>
                <a:moveTo>
                  <a:pt x="124127" y="220143"/>
                </a:moveTo>
                <a:cubicBezTo>
                  <a:pt x="139161" y="220143"/>
                  <a:pt x="151349" y="232298"/>
                  <a:pt x="151349" y="247291"/>
                </a:cubicBezTo>
                <a:cubicBezTo>
                  <a:pt x="151349" y="262284"/>
                  <a:pt x="139161" y="274439"/>
                  <a:pt x="124127" y="274439"/>
                </a:cubicBezTo>
                <a:cubicBezTo>
                  <a:pt x="109093" y="274439"/>
                  <a:pt x="96905" y="262284"/>
                  <a:pt x="96905" y="247291"/>
                </a:cubicBezTo>
                <a:cubicBezTo>
                  <a:pt x="96905" y="232298"/>
                  <a:pt x="109093" y="220143"/>
                  <a:pt x="124127" y="220143"/>
                </a:cubicBezTo>
                <a:close/>
                <a:moveTo>
                  <a:pt x="111618" y="137146"/>
                </a:moveTo>
                <a:lnTo>
                  <a:pt x="249963" y="137146"/>
                </a:lnTo>
                <a:cubicBezTo>
                  <a:pt x="259186" y="137146"/>
                  <a:pt x="267487" y="144528"/>
                  <a:pt x="267487" y="154677"/>
                </a:cubicBezTo>
                <a:cubicBezTo>
                  <a:pt x="267487" y="164827"/>
                  <a:pt x="259186" y="172209"/>
                  <a:pt x="249963" y="172209"/>
                </a:cubicBezTo>
                <a:lnTo>
                  <a:pt x="111618" y="172209"/>
                </a:lnTo>
                <a:cubicBezTo>
                  <a:pt x="101472" y="172209"/>
                  <a:pt x="94094" y="163905"/>
                  <a:pt x="94094" y="154677"/>
                </a:cubicBezTo>
                <a:cubicBezTo>
                  <a:pt x="94094" y="144528"/>
                  <a:pt x="101472" y="137146"/>
                  <a:pt x="111618" y="137146"/>
                </a:cubicBezTo>
                <a:close/>
                <a:moveTo>
                  <a:pt x="392944" y="88472"/>
                </a:moveTo>
                <a:cubicBezTo>
                  <a:pt x="427588" y="88472"/>
                  <a:pt x="455673" y="116490"/>
                  <a:pt x="455673" y="151053"/>
                </a:cubicBezTo>
                <a:cubicBezTo>
                  <a:pt x="455673" y="185616"/>
                  <a:pt x="427588" y="213634"/>
                  <a:pt x="392944" y="213634"/>
                </a:cubicBezTo>
                <a:cubicBezTo>
                  <a:pt x="358300" y="213634"/>
                  <a:pt x="330215" y="185616"/>
                  <a:pt x="330215" y="151053"/>
                </a:cubicBezTo>
                <a:cubicBezTo>
                  <a:pt x="330215" y="116490"/>
                  <a:pt x="358300" y="88472"/>
                  <a:pt x="392944" y="88472"/>
                </a:cubicBezTo>
                <a:close/>
                <a:moveTo>
                  <a:pt x="18450" y="0"/>
                </a:moveTo>
                <a:lnTo>
                  <a:pt x="404971" y="0"/>
                </a:lnTo>
                <a:cubicBezTo>
                  <a:pt x="415119" y="0"/>
                  <a:pt x="423421" y="8289"/>
                  <a:pt x="423421" y="18421"/>
                </a:cubicBezTo>
                <a:lnTo>
                  <a:pt x="423421" y="70920"/>
                </a:lnTo>
                <a:cubicBezTo>
                  <a:pt x="414196" y="67236"/>
                  <a:pt x="403126" y="64473"/>
                  <a:pt x="392056" y="64473"/>
                </a:cubicBezTo>
                <a:cubicBezTo>
                  <a:pt x="367149" y="64473"/>
                  <a:pt x="344087" y="75526"/>
                  <a:pt x="328405" y="93947"/>
                </a:cubicBezTo>
                <a:lnTo>
                  <a:pt x="58117" y="93947"/>
                </a:lnTo>
                <a:lnTo>
                  <a:pt x="58117" y="299340"/>
                </a:lnTo>
                <a:cubicBezTo>
                  <a:pt x="58117" y="311313"/>
                  <a:pt x="68264" y="320524"/>
                  <a:pt x="79334" y="320524"/>
                </a:cubicBezTo>
                <a:lnTo>
                  <a:pt x="273056" y="320524"/>
                </a:lnTo>
                <a:lnTo>
                  <a:pt x="273056" y="367497"/>
                </a:lnTo>
                <a:lnTo>
                  <a:pt x="79334" y="367497"/>
                </a:lnTo>
                <a:cubicBezTo>
                  <a:pt x="42434" y="367497"/>
                  <a:pt x="11992" y="337103"/>
                  <a:pt x="11992" y="299340"/>
                </a:cubicBezTo>
                <a:lnTo>
                  <a:pt x="11992" y="95789"/>
                </a:lnTo>
                <a:cubicBezTo>
                  <a:pt x="5535" y="93026"/>
                  <a:pt x="0" y="86578"/>
                  <a:pt x="0" y="78289"/>
                </a:cubicBezTo>
                <a:lnTo>
                  <a:pt x="0" y="18421"/>
                </a:lnTo>
                <a:cubicBezTo>
                  <a:pt x="0" y="8289"/>
                  <a:pt x="8302" y="0"/>
                  <a:pt x="18450" y="0"/>
                </a:cubicBezTo>
                <a:close/>
              </a:path>
            </a:pathLst>
          </a:cu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CC4A035-1F92-453A-B211-E9FD0CB7AA01}"/>
              </a:ext>
            </a:extLst>
          </p:cNvPr>
          <p:cNvSpPr/>
          <p:nvPr/>
        </p:nvSpPr>
        <p:spPr bwMode="auto">
          <a:xfrm>
            <a:off x="7345443" y="3873501"/>
            <a:ext cx="194934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3FBCD7D3-5A77-4B8B-AAF4-AAE7566B5810}"/>
              </a:ext>
            </a:extLst>
          </p:cNvPr>
          <p:cNvSpPr/>
          <p:nvPr/>
        </p:nvSpPr>
        <p:spPr>
          <a:xfrm>
            <a:off x="7345443" y="4265614"/>
            <a:ext cx="1949341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9C77F42F-5A04-478C-A931-E207F1203B1F}"/>
              </a:ext>
            </a:extLst>
          </p:cNvPr>
          <p:cNvSpPr/>
          <p:nvPr/>
        </p:nvSpPr>
        <p:spPr bwMode="auto">
          <a:xfrm>
            <a:off x="7917522" y="2871498"/>
            <a:ext cx="805185" cy="904455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181E9674-AED7-416F-BC01-9495E3C62917}"/>
              </a:ext>
            </a:extLst>
          </p:cNvPr>
          <p:cNvSpPr/>
          <p:nvPr/>
        </p:nvSpPr>
        <p:spPr>
          <a:xfrm>
            <a:off x="8158275" y="3212868"/>
            <a:ext cx="323678" cy="375392"/>
          </a:xfrm>
          <a:custGeom>
            <a:avLst/>
            <a:gdLst>
              <a:gd name="connsiteX0" fmla="*/ 319112 w 489849"/>
              <a:gd name="connsiteY0" fmla="*/ 229316 h 568112"/>
              <a:gd name="connsiteX1" fmla="*/ 466776 w 489849"/>
              <a:gd name="connsiteY1" fmla="*/ 229316 h 568112"/>
              <a:gd name="connsiteX2" fmla="*/ 489849 w 489849"/>
              <a:gd name="connsiteY2" fmla="*/ 252332 h 568112"/>
              <a:gd name="connsiteX3" fmla="*/ 488926 w 489849"/>
              <a:gd name="connsiteY3" fmla="*/ 394111 h 568112"/>
              <a:gd name="connsiteX4" fmla="*/ 465854 w 489849"/>
              <a:gd name="connsiteY4" fmla="*/ 417127 h 568112"/>
              <a:gd name="connsiteX5" fmla="*/ 448318 w 489849"/>
              <a:gd name="connsiteY5" fmla="*/ 407920 h 568112"/>
              <a:gd name="connsiteX6" fmla="*/ 440012 w 489849"/>
              <a:gd name="connsiteY6" fmla="*/ 546017 h 568112"/>
              <a:gd name="connsiteX7" fmla="*/ 416017 w 489849"/>
              <a:gd name="connsiteY7" fmla="*/ 568112 h 568112"/>
              <a:gd name="connsiteX8" fmla="*/ 369872 w 489849"/>
              <a:gd name="connsiteY8" fmla="*/ 568112 h 568112"/>
              <a:gd name="connsiteX9" fmla="*/ 345877 w 489849"/>
              <a:gd name="connsiteY9" fmla="*/ 546017 h 568112"/>
              <a:gd name="connsiteX10" fmla="*/ 336648 w 489849"/>
              <a:gd name="connsiteY10" fmla="*/ 407920 h 568112"/>
              <a:gd name="connsiteX11" fmla="*/ 319112 w 489849"/>
              <a:gd name="connsiteY11" fmla="*/ 417127 h 568112"/>
              <a:gd name="connsiteX12" fmla="*/ 296963 w 489849"/>
              <a:gd name="connsiteY12" fmla="*/ 394111 h 568112"/>
              <a:gd name="connsiteX13" fmla="*/ 296040 w 489849"/>
              <a:gd name="connsiteY13" fmla="*/ 252332 h 568112"/>
              <a:gd name="connsiteX14" fmla="*/ 319112 w 489849"/>
              <a:gd name="connsiteY14" fmla="*/ 229316 h 568112"/>
              <a:gd name="connsiteX15" fmla="*/ 218220 w 489849"/>
              <a:gd name="connsiteY15" fmla="*/ 220143 h 568112"/>
              <a:gd name="connsiteX16" fmla="*/ 245442 w 489849"/>
              <a:gd name="connsiteY16" fmla="*/ 247291 h 568112"/>
              <a:gd name="connsiteX17" fmla="*/ 218220 w 489849"/>
              <a:gd name="connsiteY17" fmla="*/ 274439 h 568112"/>
              <a:gd name="connsiteX18" fmla="*/ 190998 w 489849"/>
              <a:gd name="connsiteY18" fmla="*/ 247291 h 568112"/>
              <a:gd name="connsiteX19" fmla="*/ 218220 w 489849"/>
              <a:gd name="connsiteY19" fmla="*/ 220143 h 568112"/>
              <a:gd name="connsiteX20" fmla="*/ 124127 w 489849"/>
              <a:gd name="connsiteY20" fmla="*/ 220143 h 568112"/>
              <a:gd name="connsiteX21" fmla="*/ 151349 w 489849"/>
              <a:gd name="connsiteY21" fmla="*/ 247291 h 568112"/>
              <a:gd name="connsiteX22" fmla="*/ 124127 w 489849"/>
              <a:gd name="connsiteY22" fmla="*/ 274439 h 568112"/>
              <a:gd name="connsiteX23" fmla="*/ 96905 w 489849"/>
              <a:gd name="connsiteY23" fmla="*/ 247291 h 568112"/>
              <a:gd name="connsiteX24" fmla="*/ 124127 w 489849"/>
              <a:gd name="connsiteY24" fmla="*/ 220143 h 568112"/>
              <a:gd name="connsiteX25" fmla="*/ 111618 w 489849"/>
              <a:gd name="connsiteY25" fmla="*/ 137146 h 568112"/>
              <a:gd name="connsiteX26" fmla="*/ 249963 w 489849"/>
              <a:gd name="connsiteY26" fmla="*/ 137146 h 568112"/>
              <a:gd name="connsiteX27" fmla="*/ 267487 w 489849"/>
              <a:gd name="connsiteY27" fmla="*/ 154677 h 568112"/>
              <a:gd name="connsiteX28" fmla="*/ 249963 w 489849"/>
              <a:gd name="connsiteY28" fmla="*/ 172209 h 568112"/>
              <a:gd name="connsiteX29" fmla="*/ 111618 w 489849"/>
              <a:gd name="connsiteY29" fmla="*/ 172209 h 568112"/>
              <a:gd name="connsiteX30" fmla="*/ 94094 w 489849"/>
              <a:gd name="connsiteY30" fmla="*/ 154677 h 568112"/>
              <a:gd name="connsiteX31" fmla="*/ 111618 w 489849"/>
              <a:gd name="connsiteY31" fmla="*/ 137146 h 568112"/>
              <a:gd name="connsiteX32" fmla="*/ 392944 w 489849"/>
              <a:gd name="connsiteY32" fmla="*/ 88472 h 568112"/>
              <a:gd name="connsiteX33" fmla="*/ 455673 w 489849"/>
              <a:gd name="connsiteY33" fmla="*/ 151053 h 568112"/>
              <a:gd name="connsiteX34" fmla="*/ 392944 w 489849"/>
              <a:gd name="connsiteY34" fmla="*/ 213634 h 568112"/>
              <a:gd name="connsiteX35" fmla="*/ 330215 w 489849"/>
              <a:gd name="connsiteY35" fmla="*/ 151053 h 568112"/>
              <a:gd name="connsiteX36" fmla="*/ 392944 w 489849"/>
              <a:gd name="connsiteY36" fmla="*/ 88472 h 568112"/>
              <a:gd name="connsiteX37" fmla="*/ 18450 w 489849"/>
              <a:gd name="connsiteY37" fmla="*/ 0 h 568112"/>
              <a:gd name="connsiteX38" fmla="*/ 404971 w 489849"/>
              <a:gd name="connsiteY38" fmla="*/ 0 h 568112"/>
              <a:gd name="connsiteX39" fmla="*/ 423421 w 489849"/>
              <a:gd name="connsiteY39" fmla="*/ 18421 h 568112"/>
              <a:gd name="connsiteX40" fmla="*/ 423421 w 489849"/>
              <a:gd name="connsiteY40" fmla="*/ 70920 h 568112"/>
              <a:gd name="connsiteX41" fmla="*/ 392056 w 489849"/>
              <a:gd name="connsiteY41" fmla="*/ 64473 h 568112"/>
              <a:gd name="connsiteX42" fmla="*/ 328405 w 489849"/>
              <a:gd name="connsiteY42" fmla="*/ 93947 h 568112"/>
              <a:gd name="connsiteX43" fmla="*/ 58117 w 489849"/>
              <a:gd name="connsiteY43" fmla="*/ 93947 h 568112"/>
              <a:gd name="connsiteX44" fmla="*/ 58117 w 489849"/>
              <a:gd name="connsiteY44" fmla="*/ 299340 h 568112"/>
              <a:gd name="connsiteX45" fmla="*/ 79334 w 489849"/>
              <a:gd name="connsiteY45" fmla="*/ 320524 h 568112"/>
              <a:gd name="connsiteX46" fmla="*/ 273056 w 489849"/>
              <a:gd name="connsiteY46" fmla="*/ 320524 h 568112"/>
              <a:gd name="connsiteX47" fmla="*/ 273056 w 489849"/>
              <a:gd name="connsiteY47" fmla="*/ 367497 h 568112"/>
              <a:gd name="connsiteX48" fmla="*/ 79334 w 489849"/>
              <a:gd name="connsiteY48" fmla="*/ 367497 h 568112"/>
              <a:gd name="connsiteX49" fmla="*/ 11992 w 489849"/>
              <a:gd name="connsiteY49" fmla="*/ 299340 h 568112"/>
              <a:gd name="connsiteX50" fmla="*/ 11992 w 489849"/>
              <a:gd name="connsiteY50" fmla="*/ 95789 h 568112"/>
              <a:gd name="connsiteX51" fmla="*/ 0 w 489849"/>
              <a:gd name="connsiteY51" fmla="*/ 78289 h 568112"/>
              <a:gd name="connsiteX52" fmla="*/ 0 w 489849"/>
              <a:gd name="connsiteY52" fmla="*/ 18421 h 568112"/>
              <a:gd name="connsiteX53" fmla="*/ 18450 w 489849"/>
              <a:gd name="connsiteY53" fmla="*/ 0 h 56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89849" h="568112">
                <a:moveTo>
                  <a:pt x="319112" y="229316"/>
                </a:moveTo>
                <a:cubicBezTo>
                  <a:pt x="329264" y="229316"/>
                  <a:pt x="466776" y="229316"/>
                  <a:pt x="466776" y="229316"/>
                </a:cubicBezTo>
                <a:cubicBezTo>
                  <a:pt x="479697" y="229316"/>
                  <a:pt x="489849" y="239443"/>
                  <a:pt x="489849" y="252332"/>
                </a:cubicBezTo>
                <a:lnTo>
                  <a:pt x="488926" y="394111"/>
                </a:lnTo>
                <a:cubicBezTo>
                  <a:pt x="488926" y="406079"/>
                  <a:pt x="478774" y="417127"/>
                  <a:pt x="465854" y="417127"/>
                </a:cubicBezTo>
                <a:cubicBezTo>
                  <a:pt x="459393" y="417127"/>
                  <a:pt x="452933" y="413444"/>
                  <a:pt x="448318" y="407920"/>
                </a:cubicBezTo>
                <a:lnTo>
                  <a:pt x="440012" y="546017"/>
                </a:lnTo>
                <a:cubicBezTo>
                  <a:pt x="439090" y="558906"/>
                  <a:pt x="428938" y="568112"/>
                  <a:pt x="416017" y="568112"/>
                </a:cubicBezTo>
                <a:lnTo>
                  <a:pt x="369872" y="568112"/>
                </a:lnTo>
                <a:cubicBezTo>
                  <a:pt x="356951" y="568112"/>
                  <a:pt x="346800" y="558906"/>
                  <a:pt x="345877" y="546017"/>
                </a:cubicBezTo>
                <a:lnTo>
                  <a:pt x="336648" y="407920"/>
                </a:lnTo>
                <a:cubicBezTo>
                  <a:pt x="332956" y="413444"/>
                  <a:pt x="326496" y="417127"/>
                  <a:pt x="319112" y="417127"/>
                </a:cubicBezTo>
                <a:cubicBezTo>
                  <a:pt x="307115" y="417127"/>
                  <a:pt x="296963" y="406079"/>
                  <a:pt x="296963" y="394111"/>
                </a:cubicBezTo>
                <a:lnTo>
                  <a:pt x="296040" y="252332"/>
                </a:lnTo>
                <a:cubicBezTo>
                  <a:pt x="296040" y="239443"/>
                  <a:pt x="306192" y="229316"/>
                  <a:pt x="319112" y="229316"/>
                </a:cubicBezTo>
                <a:close/>
                <a:moveTo>
                  <a:pt x="218220" y="220143"/>
                </a:moveTo>
                <a:cubicBezTo>
                  <a:pt x="233254" y="220143"/>
                  <a:pt x="245442" y="232298"/>
                  <a:pt x="245442" y="247291"/>
                </a:cubicBezTo>
                <a:cubicBezTo>
                  <a:pt x="245442" y="262284"/>
                  <a:pt x="233254" y="274439"/>
                  <a:pt x="218220" y="274439"/>
                </a:cubicBezTo>
                <a:cubicBezTo>
                  <a:pt x="203186" y="274439"/>
                  <a:pt x="190998" y="262284"/>
                  <a:pt x="190998" y="247291"/>
                </a:cubicBezTo>
                <a:cubicBezTo>
                  <a:pt x="190998" y="232298"/>
                  <a:pt x="203186" y="220143"/>
                  <a:pt x="218220" y="220143"/>
                </a:cubicBezTo>
                <a:close/>
                <a:moveTo>
                  <a:pt x="124127" y="220143"/>
                </a:moveTo>
                <a:cubicBezTo>
                  <a:pt x="139161" y="220143"/>
                  <a:pt x="151349" y="232298"/>
                  <a:pt x="151349" y="247291"/>
                </a:cubicBezTo>
                <a:cubicBezTo>
                  <a:pt x="151349" y="262284"/>
                  <a:pt x="139161" y="274439"/>
                  <a:pt x="124127" y="274439"/>
                </a:cubicBezTo>
                <a:cubicBezTo>
                  <a:pt x="109093" y="274439"/>
                  <a:pt x="96905" y="262284"/>
                  <a:pt x="96905" y="247291"/>
                </a:cubicBezTo>
                <a:cubicBezTo>
                  <a:pt x="96905" y="232298"/>
                  <a:pt x="109093" y="220143"/>
                  <a:pt x="124127" y="220143"/>
                </a:cubicBezTo>
                <a:close/>
                <a:moveTo>
                  <a:pt x="111618" y="137146"/>
                </a:moveTo>
                <a:lnTo>
                  <a:pt x="249963" y="137146"/>
                </a:lnTo>
                <a:cubicBezTo>
                  <a:pt x="259186" y="137146"/>
                  <a:pt x="267487" y="144528"/>
                  <a:pt x="267487" y="154677"/>
                </a:cubicBezTo>
                <a:cubicBezTo>
                  <a:pt x="267487" y="164827"/>
                  <a:pt x="259186" y="172209"/>
                  <a:pt x="249963" y="172209"/>
                </a:cubicBezTo>
                <a:lnTo>
                  <a:pt x="111618" y="172209"/>
                </a:lnTo>
                <a:cubicBezTo>
                  <a:pt x="101472" y="172209"/>
                  <a:pt x="94094" y="163905"/>
                  <a:pt x="94094" y="154677"/>
                </a:cubicBezTo>
                <a:cubicBezTo>
                  <a:pt x="94094" y="144528"/>
                  <a:pt x="101472" y="137146"/>
                  <a:pt x="111618" y="137146"/>
                </a:cubicBezTo>
                <a:close/>
                <a:moveTo>
                  <a:pt x="392944" y="88472"/>
                </a:moveTo>
                <a:cubicBezTo>
                  <a:pt x="427588" y="88472"/>
                  <a:pt x="455673" y="116490"/>
                  <a:pt x="455673" y="151053"/>
                </a:cubicBezTo>
                <a:cubicBezTo>
                  <a:pt x="455673" y="185616"/>
                  <a:pt x="427588" y="213634"/>
                  <a:pt x="392944" y="213634"/>
                </a:cubicBezTo>
                <a:cubicBezTo>
                  <a:pt x="358300" y="213634"/>
                  <a:pt x="330215" y="185616"/>
                  <a:pt x="330215" y="151053"/>
                </a:cubicBezTo>
                <a:cubicBezTo>
                  <a:pt x="330215" y="116490"/>
                  <a:pt x="358300" y="88472"/>
                  <a:pt x="392944" y="88472"/>
                </a:cubicBezTo>
                <a:close/>
                <a:moveTo>
                  <a:pt x="18450" y="0"/>
                </a:moveTo>
                <a:lnTo>
                  <a:pt x="404971" y="0"/>
                </a:lnTo>
                <a:cubicBezTo>
                  <a:pt x="415119" y="0"/>
                  <a:pt x="423421" y="8289"/>
                  <a:pt x="423421" y="18421"/>
                </a:cubicBezTo>
                <a:lnTo>
                  <a:pt x="423421" y="70920"/>
                </a:lnTo>
                <a:cubicBezTo>
                  <a:pt x="414196" y="67236"/>
                  <a:pt x="403126" y="64473"/>
                  <a:pt x="392056" y="64473"/>
                </a:cubicBezTo>
                <a:cubicBezTo>
                  <a:pt x="367149" y="64473"/>
                  <a:pt x="344087" y="75526"/>
                  <a:pt x="328405" y="93947"/>
                </a:cubicBezTo>
                <a:lnTo>
                  <a:pt x="58117" y="93947"/>
                </a:lnTo>
                <a:lnTo>
                  <a:pt x="58117" y="299340"/>
                </a:lnTo>
                <a:cubicBezTo>
                  <a:pt x="58117" y="311313"/>
                  <a:pt x="68264" y="320524"/>
                  <a:pt x="79334" y="320524"/>
                </a:cubicBezTo>
                <a:lnTo>
                  <a:pt x="273056" y="320524"/>
                </a:lnTo>
                <a:lnTo>
                  <a:pt x="273056" y="367497"/>
                </a:lnTo>
                <a:lnTo>
                  <a:pt x="79334" y="367497"/>
                </a:lnTo>
                <a:cubicBezTo>
                  <a:pt x="42434" y="367497"/>
                  <a:pt x="11992" y="337103"/>
                  <a:pt x="11992" y="299340"/>
                </a:cubicBezTo>
                <a:lnTo>
                  <a:pt x="11992" y="95789"/>
                </a:lnTo>
                <a:cubicBezTo>
                  <a:pt x="5535" y="93026"/>
                  <a:pt x="0" y="86578"/>
                  <a:pt x="0" y="78289"/>
                </a:cubicBezTo>
                <a:lnTo>
                  <a:pt x="0" y="18421"/>
                </a:lnTo>
                <a:cubicBezTo>
                  <a:pt x="0" y="8289"/>
                  <a:pt x="8302" y="0"/>
                  <a:pt x="18450" y="0"/>
                </a:cubicBezTo>
                <a:close/>
              </a:path>
            </a:pathLst>
          </a:custGeom>
          <a:solidFill>
            <a:schemeClr val="accent2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9987661-7A18-4DFA-BAA8-287E89CBD0F4}"/>
              </a:ext>
            </a:extLst>
          </p:cNvPr>
          <p:cNvSpPr/>
          <p:nvPr/>
        </p:nvSpPr>
        <p:spPr bwMode="auto">
          <a:xfrm>
            <a:off x="9569558" y="3873501"/>
            <a:ext cx="194934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87D0BC22-DA16-4953-851E-6CEDAB607C65}"/>
              </a:ext>
            </a:extLst>
          </p:cNvPr>
          <p:cNvSpPr/>
          <p:nvPr/>
        </p:nvSpPr>
        <p:spPr>
          <a:xfrm>
            <a:off x="9569558" y="4265614"/>
            <a:ext cx="1949341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AA4A8A71-6124-4753-BC20-DD3FBB6C6970}"/>
              </a:ext>
            </a:extLst>
          </p:cNvPr>
          <p:cNvSpPr/>
          <p:nvPr/>
        </p:nvSpPr>
        <p:spPr bwMode="auto">
          <a:xfrm>
            <a:off x="10141636" y="2871498"/>
            <a:ext cx="805185" cy="904455"/>
          </a:xfrm>
          <a:custGeom>
            <a:avLst/>
            <a:gdLst>
              <a:gd name="T0" fmla="*/ 1488 w 1488"/>
              <a:gd name="T1" fmla="*/ 498 h 1680"/>
              <a:gd name="T2" fmla="*/ 1413 w 1488"/>
              <a:gd name="T3" fmla="*/ 366 h 1680"/>
              <a:gd name="T4" fmla="*/ 820 w 1488"/>
              <a:gd name="T5" fmla="*/ 24 h 1680"/>
              <a:gd name="T6" fmla="*/ 669 w 1488"/>
              <a:gd name="T7" fmla="*/ 24 h 1680"/>
              <a:gd name="T8" fmla="*/ 76 w 1488"/>
              <a:gd name="T9" fmla="*/ 366 h 1680"/>
              <a:gd name="T10" fmla="*/ 0 w 1488"/>
              <a:gd name="T11" fmla="*/ 498 h 1680"/>
              <a:gd name="T12" fmla="*/ 0 w 1488"/>
              <a:gd name="T13" fmla="*/ 1182 h 1680"/>
              <a:gd name="T14" fmla="*/ 76 w 1488"/>
              <a:gd name="T15" fmla="*/ 1314 h 1680"/>
              <a:gd name="T16" fmla="*/ 669 w 1488"/>
              <a:gd name="T17" fmla="*/ 1656 h 1680"/>
              <a:gd name="T18" fmla="*/ 820 w 1488"/>
              <a:gd name="T19" fmla="*/ 1656 h 1680"/>
              <a:gd name="T20" fmla="*/ 1413 w 1488"/>
              <a:gd name="T21" fmla="*/ 1314 h 1680"/>
              <a:gd name="T22" fmla="*/ 1488 w 1488"/>
              <a:gd name="T23" fmla="*/ 1182 h 1680"/>
              <a:gd name="T24" fmla="*/ 1488 w 1488"/>
              <a:gd name="T25" fmla="*/ 498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88" h="1680">
                <a:moveTo>
                  <a:pt x="1488" y="498"/>
                </a:moveTo>
                <a:cubicBezTo>
                  <a:pt x="1488" y="450"/>
                  <a:pt x="1454" y="390"/>
                  <a:pt x="1413" y="366"/>
                </a:cubicBezTo>
                <a:cubicBezTo>
                  <a:pt x="820" y="24"/>
                  <a:pt x="820" y="24"/>
                  <a:pt x="820" y="24"/>
                </a:cubicBezTo>
                <a:cubicBezTo>
                  <a:pt x="779" y="0"/>
                  <a:pt x="710" y="0"/>
                  <a:pt x="669" y="24"/>
                </a:cubicBezTo>
                <a:cubicBezTo>
                  <a:pt x="76" y="366"/>
                  <a:pt x="76" y="366"/>
                  <a:pt x="76" y="366"/>
                </a:cubicBezTo>
                <a:cubicBezTo>
                  <a:pt x="35" y="390"/>
                  <a:pt x="0" y="450"/>
                  <a:pt x="0" y="498"/>
                </a:cubicBezTo>
                <a:cubicBezTo>
                  <a:pt x="0" y="1182"/>
                  <a:pt x="0" y="1182"/>
                  <a:pt x="0" y="1182"/>
                </a:cubicBezTo>
                <a:cubicBezTo>
                  <a:pt x="0" y="1231"/>
                  <a:pt x="35" y="1289"/>
                  <a:pt x="76" y="1314"/>
                </a:cubicBezTo>
                <a:cubicBezTo>
                  <a:pt x="669" y="1656"/>
                  <a:pt x="669" y="1656"/>
                  <a:pt x="669" y="1656"/>
                </a:cubicBezTo>
                <a:cubicBezTo>
                  <a:pt x="710" y="1680"/>
                  <a:pt x="779" y="1680"/>
                  <a:pt x="820" y="1656"/>
                </a:cubicBezTo>
                <a:cubicBezTo>
                  <a:pt x="1413" y="1314"/>
                  <a:pt x="1413" y="1314"/>
                  <a:pt x="1413" y="1314"/>
                </a:cubicBezTo>
                <a:cubicBezTo>
                  <a:pt x="1454" y="1289"/>
                  <a:pt x="1488" y="1231"/>
                  <a:pt x="1488" y="1182"/>
                </a:cubicBezTo>
                <a:lnTo>
                  <a:pt x="1488" y="498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5AC01890-0660-4717-B344-1AF9B5C893EB}"/>
              </a:ext>
            </a:extLst>
          </p:cNvPr>
          <p:cNvSpPr/>
          <p:nvPr/>
        </p:nvSpPr>
        <p:spPr>
          <a:xfrm>
            <a:off x="10382389" y="3212868"/>
            <a:ext cx="323678" cy="375392"/>
          </a:xfrm>
          <a:custGeom>
            <a:avLst/>
            <a:gdLst>
              <a:gd name="connsiteX0" fmla="*/ 319112 w 489849"/>
              <a:gd name="connsiteY0" fmla="*/ 229316 h 568112"/>
              <a:gd name="connsiteX1" fmla="*/ 466776 w 489849"/>
              <a:gd name="connsiteY1" fmla="*/ 229316 h 568112"/>
              <a:gd name="connsiteX2" fmla="*/ 489849 w 489849"/>
              <a:gd name="connsiteY2" fmla="*/ 252332 h 568112"/>
              <a:gd name="connsiteX3" fmla="*/ 488926 w 489849"/>
              <a:gd name="connsiteY3" fmla="*/ 394111 h 568112"/>
              <a:gd name="connsiteX4" fmla="*/ 465854 w 489849"/>
              <a:gd name="connsiteY4" fmla="*/ 417127 h 568112"/>
              <a:gd name="connsiteX5" fmla="*/ 448318 w 489849"/>
              <a:gd name="connsiteY5" fmla="*/ 407920 h 568112"/>
              <a:gd name="connsiteX6" fmla="*/ 440012 w 489849"/>
              <a:gd name="connsiteY6" fmla="*/ 546017 h 568112"/>
              <a:gd name="connsiteX7" fmla="*/ 416017 w 489849"/>
              <a:gd name="connsiteY7" fmla="*/ 568112 h 568112"/>
              <a:gd name="connsiteX8" fmla="*/ 369872 w 489849"/>
              <a:gd name="connsiteY8" fmla="*/ 568112 h 568112"/>
              <a:gd name="connsiteX9" fmla="*/ 345877 w 489849"/>
              <a:gd name="connsiteY9" fmla="*/ 546017 h 568112"/>
              <a:gd name="connsiteX10" fmla="*/ 336648 w 489849"/>
              <a:gd name="connsiteY10" fmla="*/ 407920 h 568112"/>
              <a:gd name="connsiteX11" fmla="*/ 319112 w 489849"/>
              <a:gd name="connsiteY11" fmla="*/ 417127 h 568112"/>
              <a:gd name="connsiteX12" fmla="*/ 296963 w 489849"/>
              <a:gd name="connsiteY12" fmla="*/ 394111 h 568112"/>
              <a:gd name="connsiteX13" fmla="*/ 296040 w 489849"/>
              <a:gd name="connsiteY13" fmla="*/ 252332 h 568112"/>
              <a:gd name="connsiteX14" fmla="*/ 319112 w 489849"/>
              <a:gd name="connsiteY14" fmla="*/ 229316 h 568112"/>
              <a:gd name="connsiteX15" fmla="*/ 218220 w 489849"/>
              <a:gd name="connsiteY15" fmla="*/ 220143 h 568112"/>
              <a:gd name="connsiteX16" fmla="*/ 245442 w 489849"/>
              <a:gd name="connsiteY16" fmla="*/ 247291 h 568112"/>
              <a:gd name="connsiteX17" fmla="*/ 218220 w 489849"/>
              <a:gd name="connsiteY17" fmla="*/ 274439 h 568112"/>
              <a:gd name="connsiteX18" fmla="*/ 190998 w 489849"/>
              <a:gd name="connsiteY18" fmla="*/ 247291 h 568112"/>
              <a:gd name="connsiteX19" fmla="*/ 218220 w 489849"/>
              <a:gd name="connsiteY19" fmla="*/ 220143 h 568112"/>
              <a:gd name="connsiteX20" fmla="*/ 124127 w 489849"/>
              <a:gd name="connsiteY20" fmla="*/ 220143 h 568112"/>
              <a:gd name="connsiteX21" fmla="*/ 151349 w 489849"/>
              <a:gd name="connsiteY21" fmla="*/ 247291 h 568112"/>
              <a:gd name="connsiteX22" fmla="*/ 124127 w 489849"/>
              <a:gd name="connsiteY22" fmla="*/ 274439 h 568112"/>
              <a:gd name="connsiteX23" fmla="*/ 96905 w 489849"/>
              <a:gd name="connsiteY23" fmla="*/ 247291 h 568112"/>
              <a:gd name="connsiteX24" fmla="*/ 124127 w 489849"/>
              <a:gd name="connsiteY24" fmla="*/ 220143 h 568112"/>
              <a:gd name="connsiteX25" fmla="*/ 111618 w 489849"/>
              <a:gd name="connsiteY25" fmla="*/ 137146 h 568112"/>
              <a:gd name="connsiteX26" fmla="*/ 249963 w 489849"/>
              <a:gd name="connsiteY26" fmla="*/ 137146 h 568112"/>
              <a:gd name="connsiteX27" fmla="*/ 267487 w 489849"/>
              <a:gd name="connsiteY27" fmla="*/ 154677 h 568112"/>
              <a:gd name="connsiteX28" fmla="*/ 249963 w 489849"/>
              <a:gd name="connsiteY28" fmla="*/ 172209 h 568112"/>
              <a:gd name="connsiteX29" fmla="*/ 111618 w 489849"/>
              <a:gd name="connsiteY29" fmla="*/ 172209 h 568112"/>
              <a:gd name="connsiteX30" fmla="*/ 94094 w 489849"/>
              <a:gd name="connsiteY30" fmla="*/ 154677 h 568112"/>
              <a:gd name="connsiteX31" fmla="*/ 111618 w 489849"/>
              <a:gd name="connsiteY31" fmla="*/ 137146 h 568112"/>
              <a:gd name="connsiteX32" fmla="*/ 392944 w 489849"/>
              <a:gd name="connsiteY32" fmla="*/ 88472 h 568112"/>
              <a:gd name="connsiteX33" fmla="*/ 455673 w 489849"/>
              <a:gd name="connsiteY33" fmla="*/ 151053 h 568112"/>
              <a:gd name="connsiteX34" fmla="*/ 392944 w 489849"/>
              <a:gd name="connsiteY34" fmla="*/ 213634 h 568112"/>
              <a:gd name="connsiteX35" fmla="*/ 330215 w 489849"/>
              <a:gd name="connsiteY35" fmla="*/ 151053 h 568112"/>
              <a:gd name="connsiteX36" fmla="*/ 392944 w 489849"/>
              <a:gd name="connsiteY36" fmla="*/ 88472 h 568112"/>
              <a:gd name="connsiteX37" fmla="*/ 18450 w 489849"/>
              <a:gd name="connsiteY37" fmla="*/ 0 h 568112"/>
              <a:gd name="connsiteX38" fmla="*/ 404971 w 489849"/>
              <a:gd name="connsiteY38" fmla="*/ 0 h 568112"/>
              <a:gd name="connsiteX39" fmla="*/ 423421 w 489849"/>
              <a:gd name="connsiteY39" fmla="*/ 18421 h 568112"/>
              <a:gd name="connsiteX40" fmla="*/ 423421 w 489849"/>
              <a:gd name="connsiteY40" fmla="*/ 70920 h 568112"/>
              <a:gd name="connsiteX41" fmla="*/ 392056 w 489849"/>
              <a:gd name="connsiteY41" fmla="*/ 64473 h 568112"/>
              <a:gd name="connsiteX42" fmla="*/ 328405 w 489849"/>
              <a:gd name="connsiteY42" fmla="*/ 93947 h 568112"/>
              <a:gd name="connsiteX43" fmla="*/ 58117 w 489849"/>
              <a:gd name="connsiteY43" fmla="*/ 93947 h 568112"/>
              <a:gd name="connsiteX44" fmla="*/ 58117 w 489849"/>
              <a:gd name="connsiteY44" fmla="*/ 299340 h 568112"/>
              <a:gd name="connsiteX45" fmla="*/ 79334 w 489849"/>
              <a:gd name="connsiteY45" fmla="*/ 320524 h 568112"/>
              <a:gd name="connsiteX46" fmla="*/ 273056 w 489849"/>
              <a:gd name="connsiteY46" fmla="*/ 320524 h 568112"/>
              <a:gd name="connsiteX47" fmla="*/ 273056 w 489849"/>
              <a:gd name="connsiteY47" fmla="*/ 367497 h 568112"/>
              <a:gd name="connsiteX48" fmla="*/ 79334 w 489849"/>
              <a:gd name="connsiteY48" fmla="*/ 367497 h 568112"/>
              <a:gd name="connsiteX49" fmla="*/ 11992 w 489849"/>
              <a:gd name="connsiteY49" fmla="*/ 299340 h 568112"/>
              <a:gd name="connsiteX50" fmla="*/ 11992 w 489849"/>
              <a:gd name="connsiteY50" fmla="*/ 95789 h 568112"/>
              <a:gd name="connsiteX51" fmla="*/ 0 w 489849"/>
              <a:gd name="connsiteY51" fmla="*/ 78289 h 568112"/>
              <a:gd name="connsiteX52" fmla="*/ 0 w 489849"/>
              <a:gd name="connsiteY52" fmla="*/ 18421 h 568112"/>
              <a:gd name="connsiteX53" fmla="*/ 18450 w 489849"/>
              <a:gd name="connsiteY53" fmla="*/ 0 h 568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89849" h="568112">
                <a:moveTo>
                  <a:pt x="319112" y="229316"/>
                </a:moveTo>
                <a:cubicBezTo>
                  <a:pt x="329264" y="229316"/>
                  <a:pt x="466776" y="229316"/>
                  <a:pt x="466776" y="229316"/>
                </a:cubicBezTo>
                <a:cubicBezTo>
                  <a:pt x="479697" y="229316"/>
                  <a:pt x="489849" y="239443"/>
                  <a:pt x="489849" y="252332"/>
                </a:cubicBezTo>
                <a:lnTo>
                  <a:pt x="488926" y="394111"/>
                </a:lnTo>
                <a:cubicBezTo>
                  <a:pt x="488926" y="406079"/>
                  <a:pt x="478774" y="417127"/>
                  <a:pt x="465854" y="417127"/>
                </a:cubicBezTo>
                <a:cubicBezTo>
                  <a:pt x="459393" y="417127"/>
                  <a:pt x="452933" y="413444"/>
                  <a:pt x="448318" y="407920"/>
                </a:cubicBezTo>
                <a:lnTo>
                  <a:pt x="440012" y="546017"/>
                </a:lnTo>
                <a:cubicBezTo>
                  <a:pt x="439090" y="558906"/>
                  <a:pt x="428938" y="568112"/>
                  <a:pt x="416017" y="568112"/>
                </a:cubicBezTo>
                <a:lnTo>
                  <a:pt x="369872" y="568112"/>
                </a:lnTo>
                <a:cubicBezTo>
                  <a:pt x="356951" y="568112"/>
                  <a:pt x="346800" y="558906"/>
                  <a:pt x="345877" y="546017"/>
                </a:cubicBezTo>
                <a:lnTo>
                  <a:pt x="336648" y="407920"/>
                </a:lnTo>
                <a:cubicBezTo>
                  <a:pt x="332956" y="413444"/>
                  <a:pt x="326496" y="417127"/>
                  <a:pt x="319112" y="417127"/>
                </a:cubicBezTo>
                <a:cubicBezTo>
                  <a:pt x="307115" y="417127"/>
                  <a:pt x="296963" y="406079"/>
                  <a:pt x="296963" y="394111"/>
                </a:cubicBezTo>
                <a:lnTo>
                  <a:pt x="296040" y="252332"/>
                </a:lnTo>
                <a:cubicBezTo>
                  <a:pt x="296040" y="239443"/>
                  <a:pt x="306192" y="229316"/>
                  <a:pt x="319112" y="229316"/>
                </a:cubicBezTo>
                <a:close/>
                <a:moveTo>
                  <a:pt x="218220" y="220143"/>
                </a:moveTo>
                <a:cubicBezTo>
                  <a:pt x="233254" y="220143"/>
                  <a:pt x="245442" y="232298"/>
                  <a:pt x="245442" y="247291"/>
                </a:cubicBezTo>
                <a:cubicBezTo>
                  <a:pt x="245442" y="262284"/>
                  <a:pt x="233254" y="274439"/>
                  <a:pt x="218220" y="274439"/>
                </a:cubicBezTo>
                <a:cubicBezTo>
                  <a:pt x="203186" y="274439"/>
                  <a:pt x="190998" y="262284"/>
                  <a:pt x="190998" y="247291"/>
                </a:cubicBezTo>
                <a:cubicBezTo>
                  <a:pt x="190998" y="232298"/>
                  <a:pt x="203186" y="220143"/>
                  <a:pt x="218220" y="220143"/>
                </a:cubicBezTo>
                <a:close/>
                <a:moveTo>
                  <a:pt x="124127" y="220143"/>
                </a:moveTo>
                <a:cubicBezTo>
                  <a:pt x="139161" y="220143"/>
                  <a:pt x="151349" y="232298"/>
                  <a:pt x="151349" y="247291"/>
                </a:cubicBezTo>
                <a:cubicBezTo>
                  <a:pt x="151349" y="262284"/>
                  <a:pt x="139161" y="274439"/>
                  <a:pt x="124127" y="274439"/>
                </a:cubicBezTo>
                <a:cubicBezTo>
                  <a:pt x="109093" y="274439"/>
                  <a:pt x="96905" y="262284"/>
                  <a:pt x="96905" y="247291"/>
                </a:cubicBezTo>
                <a:cubicBezTo>
                  <a:pt x="96905" y="232298"/>
                  <a:pt x="109093" y="220143"/>
                  <a:pt x="124127" y="220143"/>
                </a:cubicBezTo>
                <a:close/>
                <a:moveTo>
                  <a:pt x="111618" y="137146"/>
                </a:moveTo>
                <a:lnTo>
                  <a:pt x="249963" y="137146"/>
                </a:lnTo>
                <a:cubicBezTo>
                  <a:pt x="259186" y="137146"/>
                  <a:pt x="267487" y="144528"/>
                  <a:pt x="267487" y="154677"/>
                </a:cubicBezTo>
                <a:cubicBezTo>
                  <a:pt x="267487" y="164827"/>
                  <a:pt x="259186" y="172209"/>
                  <a:pt x="249963" y="172209"/>
                </a:cubicBezTo>
                <a:lnTo>
                  <a:pt x="111618" y="172209"/>
                </a:lnTo>
                <a:cubicBezTo>
                  <a:pt x="101472" y="172209"/>
                  <a:pt x="94094" y="163905"/>
                  <a:pt x="94094" y="154677"/>
                </a:cubicBezTo>
                <a:cubicBezTo>
                  <a:pt x="94094" y="144528"/>
                  <a:pt x="101472" y="137146"/>
                  <a:pt x="111618" y="137146"/>
                </a:cubicBezTo>
                <a:close/>
                <a:moveTo>
                  <a:pt x="392944" y="88472"/>
                </a:moveTo>
                <a:cubicBezTo>
                  <a:pt x="427588" y="88472"/>
                  <a:pt x="455673" y="116490"/>
                  <a:pt x="455673" y="151053"/>
                </a:cubicBezTo>
                <a:cubicBezTo>
                  <a:pt x="455673" y="185616"/>
                  <a:pt x="427588" y="213634"/>
                  <a:pt x="392944" y="213634"/>
                </a:cubicBezTo>
                <a:cubicBezTo>
                  <a:pt x="358300" y="213634"/>
                  <a:pt x="330215" y="185616"/>
                  <a:pt x="330215" y="151053"/>
                </a:cubicBezTo>
                <a:cubicBezTo>
                  <a:pt x="330215" y="116490"/>
                  <a:pt x="358300" y="88472"/>
                  <a:pt x="392944" y="88472"/>
                </a:cubicBezTo>
                <a:close/>
                <a:moveTo>
                  <a:pt x="18450" y="0"/>
                </a:moveTo>
                <a:lnTo>
                  <a:pt x="404971" y="0"/>
                </a:lnTo>
                <a:cubicBezTo>
                  <a:pt x="415119" y="0"/>
                  <a:pt x="423421" y="8289"/>
                  <a:pt x="423421" y="18421"/>
                </a:cubicBezTo>
                <a:lnTo>
                  <a:pt x="423421" y="70920"/>
                </a:lnTo>
                <a:cubicBezTo>
                  <a:pt x="414196" y="67236"/>
                  <a:pt x="403126" y="64473"/>
                  <a:pt x="392056" y="64473"/>
                </a:cubicBezTo>
                <a:cubicBezTo>
                  <a:pt x="367149" y="64473"/>
                  <a:pt x="344087" y="75526"/>
                  <a:pt x="328405" y="93947"/>
                </a:cubicBezTo>
                <a:lnTo>
                  <a:pt x="58117" y="93947"/>
                </a:lnTo>
                <a:lnTo>
                  <a:pt x="58117" y="299340"/>
                </a:lnTo>
                <a:cubicBezTo>
                  <a:pt x="58117" y="311313"/>
                  <a:pt x="68264" y="320524"/>
                  <a:pt x="79334" y="320524"/>
                </a:cubicBezTo>
                <a:lnTo>
                  <a:pt x="273056" y="320524"/>
                </a:lnTo>
                <a:lnTo>
                  <a:pt x="273056" y="367497"/>
                </a:lnTo>
                <a:lnTo>
                  <a:pt x="79334" y="367497"/>
                </a:lnTo>
                <a:cubicBezTo>
                  <a:pt x="42434" y="367497"/>
                  <a:pt x="11992" y="337103"/>
                  <a:pt x="11992" y="299340"/>
                </a:cubicBezTo>
                <a:lnTo>
                  <a:pt x="11992" y="95789"/>
                </a:lnTo>
                <a:cubicBezTo>
                  <a:pt x="5535" y="93026"/>
                  <a:pt x="0" y="86578"/>
                  <a:pt x="0" y="78289"/>
                </a:cubicBezTo>
                <a:lnTo>
                  <a:pt x="0" y="18421"/>
                </a:lnTo>
                <a:cubicBezTo>
                  <a:pt x="0" y="8289"/>
                  <a:pt x="8302" y="0"/>
                  <a:pt x="18450" y="0"/>
                </a:cubicBezTo>
                <a:close/>
              </a:path>
            </a:pathLst>
          </a:custGeom>
          <a:solidFill>
            <a:schemeClr val="accent1"/>
          </a:solidFill>
          <a:ln w="285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7EBFB01D-F9D2-4D05-ADEF-8109C3CA3363}"/>
              </a:ext>
            </a:extLst>
          </p:cNvPr>
          <p:cNvSpPr/>
          <p:nvPr/>
        </p:nvSpPr>
        <p:spPr bwMode="auto">
          <a:xfrm>
            <a:off x="3156343" y="2327813"/>
            <a:ext cx="143108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i="1" u="sng" kern="0">
                <a:cs typeface="+mn-ea"/>
                <a:sym typeface="+mn-lt"/>
              </a:rPr>
              <a:t>02</a:t>
            </a:r>
            <a:endParaRPr lang="zh-CN" altLang="en-US" sz="1600" i="1" u="sng" kern="0" dirty="0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4DFBAF09-DCBD-4FB9-9911-CBAACEE73F62}"/>
              </a:ext>
            </a:extLst>
          </p:cNvPr>
          <p:cNvSpPr/>
          <p:nvPr/>
        </p:nvSpPr>
        <p:spPr bwMode="auto">
          <a:xfrm>
            <a:off x="5380456" y="2327813"/>
            <a:ext cx="143108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i="1" u="sng" kern="0">
                <a:cs typeface="+mn-ea"/>
                <a:sym typeface="+mn-lt"/>
              </a:rPr>
              <a:t>03</a:t>
            </a:r>
            <a:endParaRPr lang="zh-CN" altLang="en-US" sz="1600" i="1" u="sng" kern="0"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EFB88C7-101D-479D-8B88-398A291E0A35}"/>
              </a:ext>
            </a:extLst>
          </p:cNvPr>
          <p:cNvSpPr/>
          <p:nvPr/>
        </p:nvSpPr>
        <p:spPr bwMode="auto">
          <a:xfrm>
            <a:off x="7604569" y="2327813"/>
            <a:ext cx="143108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i="1" u="sng" kern="0">
                <a:cs typeface="+mn-ea"/>
                <a:sym typeface="+mn-lt"/>
              </a:rPr>
              <a:t>04</a:t>
            </a:r>
            <a:endParaRPr lang="zh-CN" altLang="en-US" sz="1600" i="1" u="sng" kern="0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3C9A751-1BF5-4BD4-8027-F049478C830E}"/>
              </a:ext>
            </a:extLst>
          </p:cNvPr>
          <p:cNvSpPr/>
          <p:nvPr/>
        </p:nvSpPr>
        <p:spPr bwMode="auto">
          <a:xfrm>
            <a:off x="9828681" y="2327813"/>
            <a:ext cx="143108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i="1" u="sng" kern="0">
                <a:cs typeface="+mn-ea"/>
                <a:sym typeface="+mn-lt"/>
              </a:rPr>
              <a:t>05</a:t>
            </a:r>
            <a:endParaRPr lang="zh-CN" altLang="en-US" sz="1600" i="1" u="sng" kern="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55037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889944-3DEA-4823-9982-0DFF98221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3B02593-D34E-4944-B380-F5C7E08C04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E8C06C9-B6ED-4138-ACF0-112519A6A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512B4AAF-5808-45B2-A8A9-16C303DD0F10}"/>
              </a:ext>
            </a:extLst>
          </p:cNvPr>
          <p:cNvSpPr/>
          <p:nvPr/>
        </p:nvSpPr>
        <p:spPr bwMode="auto">
          <a:xfrm>
            <a:off x="4287620" y="3575026"/>
            <a:ext cx="3616762" cy="828665"/>
          </a:xfrm>
          <a:custGeom>
            <a:avLst/>
            <a:gdLst>
              <a:gd name="T0" fmla="*/ 2154 w 2562"/>
              <a:gd name="T1" fmla="*/ 0 h 587"/>
              <a:gd name="T2" fmla="*/ 408 w 2562"/>
              <a:gd name="T3" fmla="*/ 0 h 587"/>
              <a:gd name="T4" fmla="*/ 0 w 2562"/>
              <a:gd name="T5" fmla="*/ 587 h 587"/>
              <a:gd name="T6" fmla="*/ 2562 w 2562"/>
              <a:gd name="T7" fmla="*/ 587 h 587"/>
              <a:gd name="T8" fmla="*/ 2154 w 2562"/>
              <a:gd name="T9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62" h="587">
                <a:moveTo>
                  <a:pt x="2154" y="0"/>
                </a:moveTo>
                <a:lnTo>
                  <a:pt x="408" y="0"/>
                </a:lnTo>
                <a:lnTo>
                  <a:pt x="0" y="587"/>
                </a:lnTo>
                <a:lnTo>
                  <a:pt x="2562" y="587"/>
                </a:lnTo>
                <a:lnTo>
                  <a:pt x="215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id-ID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3BBE57CB-0CD0-4A21-8B06-38F40E63FA10}"/>
              </a:ext>
            </a:extLst>
          </p:cNvPr>
          <p:cNvSpPr/>
          <p:nvPr/>
        </p:nvSpPr>
        <p:spPr bwMode="auto">
          <a:xfrm>
            <a:off x="3533775" y="5245062"/>
            <a:ext cx="5124450" cy="628204"/>
          </a:xfrm>
          <a:custGeom>
            <a:avLst/>
            <a:gdLst>
              <a:gd name="T0" fmla="*/ 306 w 3630"/>
              <a:gd name="T1" fmla="*/ 0 h 445"/>
              <a:gd name="T2" fmla="*/ 0 w 3630"/>
              <a:gd name="T3" fmla="*/ 445 h 445"/>
              <a:gd name="T4" fmla="*/ 3630 w 3630"/>
              <a:gd name="T5" fmla="*/ 445 h 445"/>
              <a:gd name="T6" fmla="*/ 3324 w 3630"/>
              <a:gd name="T7" fmla="*/ 0 h 445"/>
              <a:gd name="T8" fmla="*/ 306 w 3630"/>
              <a:gd name="T9" fmla="*/ 0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0" h="445">
                <a:moveTo>
                  <a:pt x="306" y="0"/>
                </a:moveTo>
                <a:lnTo>
                  <a:pt x="0" y="445"/>
                </a:lnTo>
                <a:lnTo>
                  <a:pt x="3630" y="445"/>
                </a:lnTo>
                <a:lnTo>
                  <a:pt x="3324" y="0"/>
                </a:lnTo>
                <a:lnTo>
                  <a:pt x="30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 dirty="0">
                <a:cs typeface="+mn-ea"/>
                <a:sym typeface="+mn-lt"/>
              </a:rPr>
              <a:t>3</a:t>
            </a:r>
            <a:endParaRPr lang="id-ID" sz="2400" b="1" dirty="0"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A3152955-067F-48C9-A997-95F243918910}"/>
              </a:ext>
            </a:extLst>
          </p:cNvPr>
          <p:cNvSpPr/>
          <p:nvPr/>
        </p:nvSpPr>
        <p:spPr bwMode="auto">
          <a:xfrm>
            <a:off x="5186869" y="1391133"/>
            <a:ext cx="1818262" cy="1325582"/>
          </a:xfrm>
          <a:custGeom>
            <a:avLst/>
            <a:gdLst>
              <a:gd name="T0" fmla="*/ 1288 w 1288"/>
              <a:gd name="T1" fmla="*/ 939 h 939"/>
              <a:gd name="T2" fmla="*/ 644 w 1288"/>
              <a:gd name="T3" fmla="*/ 0 h 939"/>
              <a:gd name="T4" fmla="*/ 0 w 1288"/>
              <a:gd name="T5" fmla="*/ 939 h 939"/>
              <a:gd name="T6" fmla="*/ 1288 w 1288"/>
              <a:gd name="T7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8" h="939">
                <a:moveTo>
                  <a:pt x="1288" y="939"/>
                </a:moveTo>
                <a:lnTo>
                  <a:pt x="644" y="0"/>
                </a:lnTo>
                <a:lnTo>
                  <a:pt x="0" y="939"/>
                </a:lnTo>
                <a:lnTo>
                  <a:pt x="1288" y="9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id-ID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EF0DAA40-7826-42DC-9C08-B67D09E4B95F}"/>
              </a:ext>
            </a:extLst>
          </p:cNvPr>
          <p:cNvSpPr/>
          <p:nvPr/>
        </p:nvSpPr>
        <p:spPr bwMode="auto">
          <a:xfrm>
            <a:off x="4693673" y="4427697"/>
            <a:ext cx="502507" cy="800431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AD1AC9A1-105B-4F94-AB17-FE93834EE6BF}"/>
              </a:ext>
            </a:extLst>
          </p:cNvPr>
          <p:cNvSpPr/>
          <p:nvPr/>
        </p:nvSpPr>
        <p:spPr bwMode="auto">
          <a:xfrm>
            <a:off x="4233456" y="4427697"/>
            <a:ext cx="501106" cy="800431"/>
          </a:xfrm>
          <a:custGeom>
            <a:avLst/>
            <a:gdLst>
              <a:gd name="connsiteX0" fmla="*/ 206925 w 409511"/>
              <a:gd name="connsiteY0" fmla="*/ 27688 h 654123"/>
              <a:gd name="connsiteX1" fmla="*/ 265762 w 409511"/>
              <a:gd name="connsiteY1" fmla="*/ 86525 h 654123"/>
              <a:gd name="connsiteX2" fmla="*/ 206925 w 409511"/>
              <a:gd name="connsiteY2" fmla="*/ 145362 h 654123"/>
              <a:gd name="connsiteX3" fmla="*/ 148088 w 409511"/>
              <a:gd name="connsiteY3" fmla="*/ 86525 h 654123"/>
              <a:gd name="connsiteX4" fmla="*/ 206925 w 409511"/>
              <a:gd name="connsiteY4" fmla="*/ 27688 h 654123"/>
              <a:gd name="connsiteX5" fmla="*/ 12193 w 409511"/>
              <a:gd name="connsiteY5" fmla="*/ 0 h 654123"/>
              <a:gd name="connsiteX6" fmla="*/ 21579 w 409511"/>
              <a:gd name="connsiteY6" fmla="*/ 0 h 654123"/>
              <a:gd name="connsiteX7" fmla="*/ 40352 w 409511"/>
              <a:gd name="connsiteY7" fmla="*/ 9412 h 654123"/>
              <a:gd name="connsiteX8" fmla="*/ 138911 w 409511"/>
              <a:gd name="connsiteY8" fmla="*/ 160002 h 654123"/>
              <a:gd name="connsiteX9" fmla="*/ 270324 w 409511"/>
              <a:gd name="connsiteY9" fmla="*/ 160002 h 654123"/>
              <a:gd name="connsiteX10" fmla="*/ 373576 w 409511"/>
              <a:gd name="connsiteY10" fmla="*/ 9412 h 654123"/>
              <a:gd name="connsiteX11" fmla="*/ 387656 w 409511"/>
              <a:gd name="connsiteY11" fmla="*/ 0 h 654123"/>
              <a:gd name="connsiteX12" fmla="*/ 401736 w 409511"/>
              <a:gd name="connsiteY12" fmla="*/ 0 h 654123"/>
              <a:gd name="connsiteX13" fmla="*/ 406429 w 409511"/>
              <a:gd name="connsiteY13" fmla="*/ 32942 h 654123"/>
              <a:gd name="connsiteX14" fmla="*/ 298483 w 409511"/>
              <a:gd name="connsiteY14" fmla="*/ 192943 h 654123"/>
              <a:gd name="connsiteX15" fmla="*/ 284404 w 409511"/>
              <a:gd name="connsiteY15" fmla="*/ 202355 h 654123"/>
              <a:gd name="connsiteX16" fmla="*/ 275017 w 409511"/>
              <a:gd name="connsiteY16" fmla="*/ 202355 h 654123"/>
              <a:gd name="connsiteX17" fmla="*/ 275017 w 409511"/>
              <a:gd name="connsiteY17" fmla="*/ 621182 h 654123"/>
              <a:gd name="connsiteX18" fmla="*/ 242164 w 409511"/>
              <a:gd name="connsiteY18" fmla="*/ 654123 h 654123"/>
              <a:gd name="connsiteX19" fmla="*/ 209311 w 409511"/>
              <a:gd name="connsiteY19" fmla="*/ 621182 h 654123"/>
              <a:gd name="connsiteX20" fmla="*/ 209311 w 409511"/>
              <a:gd name="connsiteY20" fmla="*/ 381180 h 654123"/>
              <a:gd name="connsiteX21" fmla="*/ 199924 w 409511"/>
              <a:gd name="connsiteY21" fmla="*/ 381180 h 654123"/>
              <a:gd name="connsiteX22" fmla="*/ 199924 w 409511"/>
              <a:gd name="connsiteY22" fmla="*/ 621182 h 654123"/>
              <a:gd name="connsiteX23" fmla="*/ 167071 w 409511"/>
              <a:gd name="connsiteY23" fmla="*/ 654123 h 654123"/>
              <a:gd name="connsiteX24" fmla="*/ 134218 w 409511"/>
              <a:gd name="connsiteY24" fmla="*/ 621182 h 654123"/>
              <a:gd name="connsiteX25" fmla="*/ 134218 w 409511"/>
              <a:gd name="connsiteY25" fmla="*/ 202355 h 654123"/>
              <a:gd name="connsiteX26" fmla="*/ 129525 w 409511"/>
              <a:gd name="connsiteY26" fmla="*/ 202355 h 654123"/>
              <a:gd name="connsiteX27" fmla="*/ 110752 w 409511"/>
              <a:gd name="connsiteY27" fmla="*/ 192943 h 654123"/>
              <a:gd name="connsiteX28" fmla="*/ 2806 w 409511"/>
              <a:gd name="connsiteY28" fmla="*/ 32942 h 654123"/>
              <a:gd name="connsiteX29" fmla="*/ 12193 w 409511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09511" h="654123">
                <a:moveTo>
                  <a:pt x="206925" y="27688"/>
                </a:moveTo>
                <a:cubicBezTo>
                  <a:pt x="239420" y="27688"/>
                  <a:pt x="265762" y="54030"/>
                  <a:pt x="265762" y="86525"/>
                </a:cubicBezTo>
                <a:cubicBezTo>
                  <a:pt x="265762" y="119020"/>
                  <a:pt x="239420" y="145362"/>
                  <a:pt x="206925" y="145362"/>
                </a:cubicBezTo>
                <a:cubicBezTo>
                  <a:pt x="174430" y="145362"/>
                  <a:pt x="148088" y="119020"/>
                  <a:pt x="148088" y="86525"/>
                </a:cubicBezTo>
                <a:cubicBezTo>
                  <a:pt x="148088" y="54030"/>
                  <a:pt x="174430" y="27688"/>
                  <a:pt x="206925" y="27688"/>
                </a:cubicBezTo>
                <a:close/>
                <a:moveTo>
                  <a:pt x="12193" y="0"/>
                </a:moveTo>
                <a:cubicBezTo>
                  <a:pt x="12193" y="0"/>
                  <a:pt x="16886" y="0"/>
                  <a:pt x="21579" y="0"/>
                </a:cubicBezTo>
                <a:cubicBezTo>
                  <a:pt x="26272" y="0"/>
                  <a:pt x="35659" y="0"/>
                  <a:pt x="40352" y="9412"/>
                </a:cubicBezTo>
                <a:cubicBezTo>
                  <a:pt x="40352" y="9412"/>
                  <a:pt x="40352" y="9412"/>
                  <a:pt x="138911" y="160002"/>
                </a:cubicBezTo>
                <a:cubicBezTo>
                  <a:pt x="138911" y="160002"/>
                  <a:pt x="138911" y="160002"/>
                  <a:pt x="270324" y="160002"/>
                </a:cubicBezTo>
                <a:cubicBezTo>
                  <a:pt x="270324" y="160002"/>
                  <a:pt x="270324" y="160002"/>
                  <a:pt x="373576" y="9412"/>
                </a:cubicBezTo>
                <a:cubicBezTo>
                  <a:pt x="373576" y="0"/>
                  <a:pt x="382963" y="0"/>
                  <a:pt x="387656" y="0"/>
                </a:cubicBezTo>
                <a:cubicBezTo>
                  <a:pt x="392349" y="0"/>
                  <a:pt x="397042" y="0"/>
                  <a:pt x="401736" y="0"/>
                </a:cubicBezTo>
                <a:cubicBezTo>
                  <a:pt x="411122" y="9412"/>
                  <a:pt x="411122" y="23529"/>
                  <a:pt x="406429" y="32942"/>
                </a:cubicBezTo>
                <a:cubicBezTo>
                  <a:pt x="406429" y="32942"/>
                  <a:pt x="406429" y="32942"/>
                  <a:pt x="298483" y="192943"/>
                </a:cubicBezTo>
                <a:cubicBezTo>
                  <a:pt x="293790" y="197649"/>
                  <a:pt x="289097" y="202355"/>
                  <a:pt x="284404" y="202355"/>
                </a:cubicBezTo>
                <a:cubicBezTo>
                  <a:pt x="284404" y="202355"/>
                  <a:pt x="284404" y="202355"/>
                  <a:pt x="275017" y="202355"/>
                </a:cubicBezTo>
                <a:cubicBezTo>
                  <a:pt x="275017" y="202355"/>
                  <a:pt x="275017" y="202355"/>
                  <a:pt x="275017" y="621182"/>
                </a:cubicBezTo>
                <a:cubicBezTo>
                  <a:pt x="275017" y="635300"/>
                  <a:pt x="260937" y="654123"/>
                  <a:pt x="242164" y="654123"/>
                </a:cubicBezTo>
                <a:cubicBezTo>
                  <a:pt x="228084" y="654123"/>
                  <a:pt x="209311" y="635300"/>
                  <a:pt x="209311" y="621182"/>
                </a:cubicBezTo>
                <a:cubicBezTo>
                  <a:pt x="209311" y="621182"/>
                  <a:pt x="209311" y="621182"/>
                  <a:pt x="209311" y="381180"/>
                </a:cubicBezTo>
                <a:cubicBezTo>
                  <a:pt x="209311" y="381180"/>
                  <a:pt x="209311" y="381180"/>
                  <a:pt x="199924" y="381180"/>
                </a:cubicBezTo>
                <a:cubicBezTo>
                  <a:pt x="199924" y="381180"/>
                  <a:pt x="199924" y="381180"/>
                  <a:pt x="199924" y="621182"/>
                </a:cubicBezTo>
                <a:cubicBezTo>
                  <a:pt x="199924" y="635300"/>
                  <a:pt x="185845" y="654123"/>
                  <a:pt x="167071" y="654123"/>
                </a:cubicBezTo>
                <a:cubicBezTo>
                  <a:pt x="148298" y="654123"/>
                  <a:pt x="134218" y="635300"/>
                  <a:pt x="134218" y="621182"/>
                </a:cubicBezTo>
                <a:cubicBezTo>
                  <a:pt x="134218" y="621182"/>
                  <a:pt x="134218" y="621182"/>
                  <a:pt x="134218" y="202355"/>
                </a:cubicBezTo>
                <a:cubicBezTo>
                  <a:pt x="134218" y="202355"/>
                  <a:pt x="134218" y="202355"/>
                  <a:pt x="129525" y="202355"/>
                </a:cubicBezTo>
                <a:cubicBezTo>
                  <a:pt x="120138" y="202355"/>
                  <a:pt x="115445" y="197649"/>
                  <a:pt x="110752" y="192943"/>
                </a:cubicBezTo>
                <a:cubicBezTo>
                  <a:pt x="110752" y="192943"/>
                  <a:pt x="110752" y="192943"/>
                  <a:pt x="2806" y="32942"/>
                </a:cubicBezTo>
                <a:cubicBezTo>
                  <a:pt x="-1887" y="23529"/>
                  <a:pt x="-1887" y="9412"/>
                  <a:pt x="121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C9EA5EE2-C1FC-4B1E-A852-09220DAD1289}"/>
              </a:ext>
            </a:extLst>
          </p:cNvPr>
          <p:cNvSpPr/>
          <p:nvPr/>
        </p:nvSpPr>
        <p:spPr bwMode="auto">
          <a:xfrm>
            <a:off x="5153885" y="4427697"/>
            <a:ext cx="502507" cy="800431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9D9E5E72-1BBB-4F2D-94BE-A33152FD7752}"/>
              </a:ext>
            </a:extLst>
          </p:cNvPr>
          <p:cNvSpPr/>
          <p:nvPr/>
        </p:nvSpPr>
        <p:spPr bwMode="auto">
          <a:xfrm>
            <a:off x="5614098" y="4427697"/>
            <a:ext cx="502507" cy="800431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66ED61A9-CA20-48DC-BB6B-5972BFC9FAD4}"/>
              </a:ext>
            </a:extLst>
          </p:cNvPr>
          <p:cNvSpPr/>
          <p:nvPr/>
        </p:nvSpPr>
        <p:spPr bwMode="auto">
          <a:xfrm>
            <a:off x="6075722" y="4427697"/>
            <a:ext cx="502507" cy="800431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EE8BF91F-4C79-4330-A2B4-2574DC8C3B29}"/>
              </a:ext>
            </a:extLst>
          </p:cNvPr>
          <p:cNvSpPr/>
          <p:nvPr/>
        </p:nvSpPr>
        <p:spPr bwMode="auto">
          <a:xfrm>
            <a:off x="6535934" y="4427697"/>
            <a:ext cx="502507" cy="800431"/>
          </a:xfrm>
          <a:custGeom>
            <a:avLst/>
            <a:gdLst>
              <a:gd name="connsiteX0" fmla="*/ 206920 w 410656"/>
              <a:gd name="connsiteY0" fmla="*/ 27688 h 654123"/>
              <a:gd name="connsiteX1" fmla="*/ 265757 w 410656"/>
              <a:gd name="connsiteY1" fmla="*/ 86525 h 654123"/>
              <a:gd name="connsiteX2" fmla="*/ 206920 w 410656"/>
              <a:gd name="connsiteY2" fmla="*/ 145362 h 654123"/>
              <a:gd name="connsiteX3" fmla="*/ 148083 w 410656"/>
              <a:gd name="connsiteY3" fmla="*/ 86525 h 654123"/>
              <a:gd name="connsiteX4" fmla="*/ 206920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7688"/>
                </a:moveTo>
                <a:cubicBezTo>
                  <a:pt x="239415" y="27688"/>
                  <a:pt x="265757" y="54030"/>
                  <a:pt x="265757" y="86525"/>
                </a:cubicBezTo>
                <a:cubicBezTo>
                  <a:pt x="265757" y="119020"/>
                  <a:pt x="239415" y="145362"/>
                  <a:pt x="206920" y="145362"/>
                </a:cubicBezTo>
                <a:cubicBezTo>
                  <a:pt x="174425" y="145362"/>
                  <a:pt x="148083" y="119020"/>
                  <a:pt x="148083" y="86525"/>
                </a:cubicBezTo>
                <a:cubicBezTo>
                  <a:pt x="148083" y="54030"/>
                  <a:pt x="174425" y="27688"/>
                  <a:pt x="206920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3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E76DA776-F2DF-46ED-88AD-5993C8A58AF3}"/>
              </a:ext>
            </a:extLst>
          </p:cNvPr>
          <p:cNvSpPr/>
          <p:nvPr/>
        </p:nvSpPr>
        <p:spPr bwMode="auto">
          <a:xfrm>
            <a:off x="6996147" y="4427697"/>
            <a:ext cx="502507" cy="800431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DC8BE2EE-B84B-4798-B26F-75F8CC4095B6}"/>
              </a:ext>
            </a:extLst>
          </p:cNvPr>
          <p:cNvSpPr/>
          <p:nvPr/>
        </p:nvSpPr>
        <p:spPr bwMode="auto">
          <a:xfrm>
            <a:off x="7456359" y="4427697"/>
            <a:ext cx="502507" cy="800431"/>
          </a:xfrm>
          <a:custGeom>
            <a:avLst/>
            <a:gdLst>
              <a:gd name="connsiteX0" fmla="*/ 208074 w 410656"/>
              <a:gd name="connsiteY0" fmla="*/ 27688 h 654123"/>
              <a:gd name="connsiteX1" fmla="*/ 266911 w 410656"/>
              <a:gd name="connsiteY1" fmla="*/ 86525 h 654123"/>
              <a:gd name="connsiteX2" fmla="*/ 208074 w 410656"/>
              <a:gd name="connsiteY2" fmla="*/ 145362 h 654123"/>
              <a:gd name="connsiteX3" fmla="*/ 149237 w 410656"/>
              <a:gd name="connsiteY3" fmla="*/ 86525 h 654123"/>
              <a:gd name="connsiteX4" fmla="*/ 208074 w 410656"/>
              <a:gd name="connsiteY4" fmla="*/ 27688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2 h 654123"/>
              <a:gd name="connsiteX9" fmla="*/ 271079 w 410656"/>
              <a:gd name="connsiteY9" fmla="*/ 160002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7688"/>
                </a:moveTo>
                <a:cubicBezTo>
                  <a:pt x="240569" y="27688"/>
                  <a:pt x="266911" y="54030"/>
                  <a:pt x="266911" y="86525"/>
                </a:cubicBezTo>
                <a:cubicBezTo>
                  <a:pt x="266911" y="119020"/>
                  <a:pt x="240569" y="145362"/>
                  <a:pt x="208074" y="145362"/>
                </a:cubicBezTo>
                <a:cubicBezTo>
                  <a:pt x="175579" y="145362"/>
                  <a:pt x="149237" y="119020"/>
                  <a:pt x="149237" y="86525"/>
                </a:cubicBezTo>
                <a:cubicBezTo>
                  <a:pt x="149237" y="54030"/>
                  <a:pt x="175579" y="27688"/>
                  <a:pt x="208074" y="27688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2"/>
                </a:cubicBezTo>
                <a:cubicBezTo>
                  <a:pt x="139300" y="160002"/>
                  <a:pt x="139300" y="160002"/>
                  <a:pt x="271079" y="160002"/>
                </a:cubicBezTo>
                <a:cubicBezTo>
                  <a:pt x="271079" y="160002"/>
                  <a:pt x="271079" y="160002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300"/>
                  <a:pt x="261667" y="654123"/>
                  <a:pt x="242841" y="654123"/>
                </a:cubicBezTo>
                <a:cubicBezTo>
                  <a:pt x="228722" y="654123"/>
                  <a:pt x="209896" y="635300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300"/>
                  <a:pt x="186364" y="654123"/>
                  <a:pt x="167539" y="654123"/>
                </a:cubicBezTo>
                <a:cubicBezTo>
                  <a:pt x="148712" y="654123"/>
                  <a:pt x="134593" y="635300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45A7E113-844D-4837-A68B-DD65AE1302D0}"/>
              </a:ext>
            </a:extLst>
          </p:cNvPr>
          <p:cNvSpPr/>
          <p:nvPr/>
        </p:nvSpPr>
        <p:spPr bwMode="auto">
          <a:xfrm>
            <a:off x="5153887" y="2744952"/>
            <a:ext cx="502507" cy="800431"/>
          </a:xfrm>
          <a:custGeom>
            <a:avLst/>
            <a:gdLst>
              <a:gd name="connsiteX0" fmla="*/ 208074 w 410656"/>
              <a:gd name="connsiteY0" fmla="*/ 28842 h 654123"/>
              <a:gd name="connsiteX1" fmla="*/ 266911 w 410656"/>
              <a:gd name="connsiteY1" fmla="*/ 87679 h 654123"/>
              <a:gd name="connsiteX2" fmla="*/ 208074 w 410656"/>
              <a:gd name="connsiteY2" fmla="*/ 146516 h 654123"/>
              <a:gd name="connsiteX3" fmla="*/ 149237 w 410656"/>
              <a:gd name="connsiteY3" fmla="*/ 87679 h 654123"/>
              <a:gd name="connsiteX4" fmla="*/ 208074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8842"/>
                </a:moveTo>
                <a:cubicBezTo>
                  <a:pt x="240569" y="28842"/>
                  <a:pt x="266911" y="55184"/>
                  <a:pt x="266911" y="87679"/>
                </a:cubicBezTo>
                <a:cubicBezTo>
                  <a:pt x="266911" y="120174"/>
                  <a:pt x="240569" y="146516"/>
                  <a:pt x="208074" y="146516"/>
                </a:cubicBezTo>
                <a:cubicBezTo>
                  <a:pt x="175579" y="146516"/>
                  <a:pt x="149237" y="120174"/>
                  <a:pt x="149237" y="87679"/>
                </a:cubicBezTo>
                <a:cubicBezTo>
                  <a:pt x="149237" y="55184"/>
                  <a:pt x="175579" y="28842"/>
                  <a:pt x="208074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2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7E889E93-22A7-49A0-8A34-697087CC79D1}"/>
              </a:ext>
            </a:extLst>
          </p:cNvPr>
          <p:cNvSpPr/>
          <p:nvPr/>
        </p:nvSpPr>
        <p:spPr bwMode="auto">
          <a:xfrm>
            <a:off x="5614099" y="2744952"/>
            <a:ext cx="502507" cy="800431"/>
          </a:xfrm>
          <a:custGeom>
            <a:avLst/>
            <a:gdLst>
              <a:gd name="connsiteX0" fmla="*/ 208074 w 410656"/>
              <a:gd name="connsiteY0" fmla="*/ 28842 h 654123"/>
              <a:gd name="connsiteX1" fmla="*/ 266911 w 410656"/>
              <a:gd name="connsiteY1" fmla="*/ 87679 h 654123"/>
              <a:gd name="connsiteX2" fmla="*/ 208074 w 410656"/>
              <a:gd name="connsiteY2" fmla="*/ 146516 h 654123"/>
              <a:gd name="connsiteX3" fmla="*/ 149237 w 410656"/>
              <a:gd name="connsiteY3" fmla="*/ 87679 h 654123"/>
              <a:gd name="connsiteX4" fmla="*/ 208074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8074" y="28842"/>
                </a:moveTo>
                <a:cubicBezTo>
                  <a:pt x="240569" y="28842"/>
                  <a:pt x="266911" y="55184"/>
                  <a:pt x="266911" y="87679"/>
                </a:cubicBezTo>
                <a:cubicBezTo>
                  <a:pt x="266911" y="120174"/>
                  <a:pt x="240569" y="146516"/>
                  <a:pt x="208074" y="146516"/>
                </a:cubicBezTo>
                <a:cubicBezTo>
                  <a:pt x="175579" y="146516"/>
                  <a:pt x="149237" y="120174"/>
                  <a:pt x="149237" y="87679"/>
                </a:cubicBezTo>
                <a:cubicBezTo>
                  <a:pt x="149237" y="55184"/>
                  <a:pt x="175579" y="28842"/>
                  <a:pt x="208074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2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E9536278-E367-4071-8EF8-B4F4610FFBEE}"/>
              </a:ext>
            </a:extLst>
          </p:cNvPr>
          <p:cNvSpPr/>
          <p:nvPr/>
        </p:nvSpPr>
        <p:spPr bwMode="auto">
          <a:xfrm>
            <a:off x="6075723" y="2744952"/>
            <a:ext cx="502507" cy="800431"/>
          </a:xfrm>
          <a:custGeom>
            <a:avLst/>
            <a:gdLst>
              <a:gd name="connsiteX0" fmla="*/ 206920 w 410656"/>
              <a:gd name="connsiteY0" fmla="*/ 28842 h 654123"/>
              <a:gd name="connsiteX1" fmla="*/ 265757 w 410656"/>
              <a:gd name="connsiteY1" fmla="*/ 87679 h 654123"/>
              <a:gd name="connsiteX2" fmla="*/ 206920 w 410656"/>
              <a:gd name="connsiteY2" fmla="*/ 146516 h 654123"/>
              <a:gd name="connsiteX3" fmla="*/ 148083 w 410656"/>
              <a:gd name="connsiteY3" fmla="*/ 87679 h 654123"/>
              <a:gd name="connsiteX4" fmla="*/ 206920 w 410656"/>
              <a:gd name="connsiteY4" fmla="*/ 28842 h 654123"/>
              <a:gd name="connsiteX5" fmla="*/ 12227 w 410656"/>
              <a:gd name="connsiteY5" fmla="*/ 0 h 654123"/>
              <a:gd name="connsiteX6" fmla="*/ 21640 w 410656"/>
              <a:gd name="connsiteY6" fmla="*/ 0 h 654123"/>
              <a:gd name="connsiteX7" fmla="*/ 40465 w 410656"/>
              <a:gd name="connsiteY7" fmla="*/ 9412 h 654123"/>
              <a:gd name="connsiteX8" fmla="*/ 139300 w 410656"/>
              <a:gd name="connsiteY8" fmla="*/ 160001 h 654123"/>
              <a:gd name="connsiteX9" fmla="*/ 271079 w 410656"/>
              <a:gd name="connsiteY9" fmla="*/ 160001 h 654123"/>
              <a:gd name="connsiteX10" fmla="*/ 374620 w 410656"/>
              <a:gd name="connsiteY10" fmla="*/ 9412 h 654123"/>
              <a:gd name="connsiteX11" fmla="*/ 388739 w 410656"/>
              <a:gd name="connsiteY11" fmla="*/ 0 h 654123"/>
              <a:gd name="connsiteX12" fmla="*/ 402858 w 410656"/>
              <a:gd name="connsiteY12" fmla="*/ 0 h 654123"/>
              <a:gd name="connsiteX13" fmla="*/ 407565 w 410656"/>
              <a:gd name="connsiteY13" fmla="*/ 32942 h 654123"/>
              <a:gd name="connsiteX14" fmla="*/ 299318 w 410656"/>
              <a:gd name="connsiteY14" fmla="*/ 192943 h 654123"/>
              <a:gd name="connsiteX15" fmla="*/ 285198 w 410656"/>
              <a:gd name="connsiteY15" fmla="*/ 202355 h 654123"/>
              <a:gd name="connsiteX16" fmla="*/ 275786 w 410656"/>
              <a:gd name="connsiteY16" fmla="*/ 202355 h 654123"/>
              <a:gd name="connsiteX17" fmla="*/ 275786 w 410656"/>
              <a:gd name="connsiteY17" fmla="*/ 621182 h 654123"/>
              <a:gd name="connsiteX18" fmla="*/ 242841 w 410656"/>
              <a:gd name="connsiteY18" fmla="*/ 654123 h 654123"/>
              <a:gd name="connsiteX19" fmla="*/ 209896 w 410656"/>
              <a:gd name="connsiteY19" fmla="*/ 621182 h 654123"/>
              <a:gd name="connsiteX20" fmla="*/ 209896 w 410656"/>
              <a:gd name="connsiteY20" fmla="*/ 381180 h 654123"/>
              <a:gd name="connsiteX21" fmla="*/ 200483 w 410656"/>
              <a:gd name="connsiteY21" fmla="*/ 381180 h 654123"/>
              <a:gd name="connsiteX22" fmla="*/ 200483 w 410656"/>
              <a:gd name="connsiteY22" fmla="*/ 621182 h 654123"/>
              <a:gd name="connsiteX23" fmla="*/ 167539 w 410656"/>
              <a:gd name="connsiteY23" fmla="*/ 654123 h 654123"/>
              <a:gd name="connsiteX24" fmla="*/ 134593 w 410656"/>
              <a:gd name="connsiteY24" fmla="*/ 621182 h 654123"/>
              <a:gd name="connsiteX25" fmla="*/ 134593 w 410656"/>
              <a:gd name="connsiteY25" fmla="*/ 202355 h 654123"/>
              <a:gd name="connsiteX26" fmla="*/ 129887 w 410656"/>
              <a:gd name="connsiteY26" fmla="*/ 202355 h 654123"/>
              <a:gd name="connsiteX27" fmla="*/ 111061 w 410656"/>
              <a:gd name="connsiteY27" fmla="*/ 192943 h 654123"/>
              <a:gd name="connsiteX28" fmla="*/ 2814 w 410656"/>
              <a:gd name="connsiteY28" fmla="*/ 32942 h 654123"/>
              <a:gd name="connsiteX29" fmla="*/ 12227 w 410656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6" h="654123">
                <a:moveTo>
                  <a:pt x="206920" y="28842"/>
                </a:moveTo>
                <a:cubicBezTo>
                  <a:pt x="239415" y="28842"/>
                  <a:pt x="265757" y="55184"/>
                  <a:pt x="265757" y="87679"/>
                </a:cubicBezTo>
                <a:cubicBezTo>
                  <a:pt x="265757" y="120174"/>
                  <a:pt x="239415" y="146516"/>
                  <a:pt x="206920" y="146516"/>
                </a:cubicBezTo>
                <a:cubicBezTo>
                  <a:pt x="174425" y="146516"/>
                  <a:pt x="148083" y="120174"/>
                  <a:pt x="148083" y="87679"/>
                </a:cubicBezTo>
                <a:cubicBezTo>
                  <a:pt x="148083" y="55184"/>
                  <a:pt x="174425" y="28842"/>
                  <a:pt x="206920" y="28842"/>
                </a:cubicBezTo>
                <a:close/>
                <a:moveTo>
                  <a:pt x="12227" y="0"/>
                </a:moveTo>
                <a:cubicBezTo>
                  <a:pt x="12227" y="0"/>
                  <a:pt x="16933" y="0"/>
                  <a:pt x="21640" y="0"/>
                </a:cubicBezTo>
                <a:cubicBezTo>
                  <a:pt x="26346" y="0"/>
                  <a:pt x="35759" y="0"/>
                  <a:pt x="40465" y="9412"/>
                </a:cubicBezTo>
                <a:cubicBezTo>
                  <a:pt x="40465" y="9412"/>
                  <a:pt x="40465" y="9412"/>
                  <a:pt x="139300" y="160001"/>
                </a:cubicBezTo>
                <a:cubicBezTo>
                  <a:pt x="139300" y="160001"/>
                  <a:pt x="139300" y="160001"/>
                  <a:pt x="271079" y="160001"/>
                </a:cubicBezTo>
                <a:cubicBezTo>
                  <a:pt x="271079" y="160001"/>
                  <a:pt x="271079" y="160001"/>
                  <a:pt x="374620" y="9412"/>
                </a:cubicBezTo>
                <a:cubicBezTo>
                  <a:pt x="374620" y="0"/>
                  <a:pt x="384033" y="0"/>
                  <a:pt x="388739" y="0"/>
                </a:cubicBezTo>
                <a:cubicBezTo>
                  <a:pt x="393446" y="0"/>
                  <a:pt x="398152" y="0"/>
                  <a:pt x="402858" y="0"/>
                </a:cubicBezTo>
                <a:cubicBezTo>
                  <a:pt x="412271" y="9412"/>
                  <a:pt x="412271" y="23529"/>
                  <a:pt x="407565" y="32942"/>
                </a:cubicBezTo>
                <a:cubicBezTo>
                  <a:pt x="407565" y="32942"/>
                  <a:pt x="407565" y="32942"/>
                  <a:pt x="299318" y="192943"/>
                </a:cubicBezTo>
                <a:cubicBezTo>
                  <a:pt x="294611" y="197649"/>
                  <a:pt x="289905" y="202355"/>
                  <a:pt x="285198" y="202355"/>
                </a:cubicBezTo>
                <a:cubicBezTo>
                  <a:pt x="285198" y="202355"/>
                  <a:pt x="285198" y="202355"/>
                  <a:pt x="275786" y="202355"/>
                </a:cubicBezTo>
                <a:cubicBezTo>
                  <a:pt x="275786" y="202355"/>
                  <a:pt x="275786" y="202355"/>
                  <a:pt x="275786" y="621182"/>
                </a:cubicBezTo>
                <a:cubicBezTo>
                  <a:pt x="275786" y="635299"/>
                  <a:pt x="261667" y="654123"/>
                  <a:pt x="242841" y="654123"/>
                </a:cubicBezTo>
                <a:cubicBezTo>
                  <a:pt x="228722" y="654123"/>
                  <a:pt x="209896" y="635299"/>
                  <a:pt x="209896" y="621182"/>
                </a:cubicBezTo>
                <a:cubicBezTo>
                  <a:pt x="209896" y="621182"/>
                  <a:pt x="209896" y="621182"/>
                  <a:pt x="209896" y="381180"/>
                </a:cubicBezTo>
                <a:cubicBezTo>
                  <a:pt x="209896" y="381180"/>
                  <a:pt x="209896" y="381180"/>
                  <a:pt x="200483" y="381180"/>
                </a:cubicBezTo>
                <a:cubicBezTo>
                  <a:pt x="200483" y="381180"/>
                  <a:pt x="200483" y="381180"/>
                  <a:pt x="200483" y="621182"/>
                </a:cubicBezTo>
                <a:cubicBezTo>
                  <a:pt x="200483" y="635299"/>
                  <a:pt x="186364" y="654123"/>
                  <a:pt x="167539" y="654123"/>
                </a:cubicBezTo>
                <a:cubicBezTo>
                  <a:pt x="148713" y="654123"/>
                  <a:pt x="134593" y="635299"/>
                  <a:pt x="134593" y="621182"/>
                </a:cubicBezTo>
                <a:cubicBezTo>
                  <a:pt x="134593" y="621182"/>
                  <a:pt x="134593" y="621182"/>
                  <a:pt x="134593" y="202355"/>
                </a:cubicBezTo>
                <a:cubicBezTo>
                  <a:pt x="134593" y="202355"/>
                  <a:pt x="134593" y="202355"/>
                  <a:pt x="129887" y="202355"/>
                </a:cubicBezTo>
                <a:cubicBezTo>
                  <a:pt x="120474" y="202355"/>
                  <a:pt x="115768" y="197649"/>
                  <a:pt x="111061" y="192943"/>
                </a:cubicBezTo>
                <a:cubicBezTo>
                  <a:pt x="111061" y="192943"/>
                  <a:pt x="111061" y="192943"/>
                  <a:pt x="2814" y="32942"/>
                </a:cubicBezTo>
                <a:cubicBezTo>
                  <a:pt x="-1892" y="23529"/>
                  <a:pt x="-1892" y="9412"/>
                  <a:pt x="1222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DA9FDBD5-DED9-4E99-944F-A2212B882B71}"/>
              </a:ext>
            </a:extLst>
          </p:cNvPr>
          <p:cNvSpPr/>
          <p:nvPr/>
        </p:nvSpPr>
        <p:spPr bwMode="auto">
          <a:xfrm>
            <a:off x="6535936" y="2744952"/>
            <a:ext cx="502508" cy="800431"/>
          </a:xfrm>
          <a:custGeom>
            <a:avLst/>
            <a:gdLst>
              <a:gd name="connsiteX0" fmla="*/ 206921 w 410657"/>
              <a:gd name="connsiteY0" fmla="*/ 28842 h 654123"/>
              <a:gd name="connsiteX1" fmla="*/ 265758 w 410657"/>
              <a:gd name="connsiteY1" fmla="*/ 87679 h 654123"/>
              <a:gd name="connsiteX2" fmla="*/ 206921 w 410657"/>
              <a:gd name="connsiteY2" fmla="*/ 146516 h 654123"/>
              <a:gd name="connsiteX3" fmla="*/ 148084 w 410657"/>
              <a:gd name="connsiteY3" fmla="*/ 87679 h 654123"/>
              <a:gd name="connsiteX4" fmla="*/ 206921 w 410657"/>
              <a:gd name="connsiteY4" fmla="*/ 28842 h 654123"/>
              <a:gd name="connsiteX5" fmla="*/ 12228 w 410657"/>
              <a:gd name="connsiteY5" fmla="*/ 0 h 654123"/>
              <a:gd name="connsiteX6" fmla="*/ 21641 w 410657"/>
              <a:gd name="connsiteY6" fmla="*/ 0 h 654123"/>
              <a:gd name="connsiteX7" fmla="*/ 40467 w 410657"/>
              <a:gd name="connsiteY7" fmla="*/ 9412 h 654123"/>
              <a:gd name="connsiteX8" fmla="*/ 139301 w 410657"/>
              <a:gd name="connsiteY8" fmla="*/ 160001 h 654123"/>
              <a:gd name="connsiteX9" fmla="*/ 271080 w 410657"/>
              <a:gd name="connsiteY9" fmla="*/ 160001 h 654123"/>
              <a:gd name="connsiteX10" fmla="*/ 374621 w 410657"/>
              <a:gd name="connsiteY10" fmla="*/ 9412 h 654123"/>
              <a:gd name="connsiteX11" fmla="*/ 388740 w 410657"/>
              <a:gd name="connsiteY11" fmla="*/ 0 h 654123"/>
              <a:gd name="connsiteX12" fmla="*/ 402859 w 410657"/>
              <a:gd name="connsiteY12" fmla="*/ 0 h 654123"/>
              <a:gd name="connsiteX13" fmla="*/ 407566 w 410657"/>
              <a:gd name="connsiteY13" fmla="*/ 32942 h 654123"/>
              <a:gd name="connsiteX14" fmla="*/ 299319 w 410657"/>
              <a:gd name="connsiteY14" fmla="*/ 192943 h 654123"/>
              <a:gd name="connsiteX15" fmla="*/ 285199 w 410657"/>
              <a:gd name="connsiteY15" fmla="*/ 202355 h 654123"/>
              <a:gd name="connsiteX16" fmla="*/ 275787 w 410657"/>
              <a:gd name="connsiteY16" fmla="*/ 202355 h 654123"/>
              <a:gd name="connsiteX17" fmla="*/ 275787 w 410657"/>
              <a:gd name="connsiteY17" fmla="*/ 621182 h 654123"/>
              <a:gd name="connsiteX18" fmla="*/ 242842 w 410657"/>
              <a:gd name="connsiteY18" fmla="*/ 654123 h 654123"/>
              <a:gd name="connsiteX19" fmla="*/ 209897 w 410657"/>
              <a:gd name="connsiteY19" fmla="*/ 621182 h 654123"/>
              <a:gd name="connsiteX20" fmla="*/ 209897 w 410657"/>
              <a:gd name="connsiteY20" fmla="*/ 381180 h 654123"/>
              <a:gd name="connsiteX21" fmla="*/ 200484 w 410657"/>
              <a:gd name="connsiteY21" fmla="*/ 381180 h 654123"/>
              <a:gd name="connsiteX22" fmla="*/ 200484 w 410657"/>
              <a:gd name="connsiteY22" fmla="*/ 621182 h 654123"/>
              <a:gd name="connsiteX23" fmla="*/ 167540 w 410657"/>
              <a:gd name="connsiteY23" fmla="*/ 654123 h 654123"/>
              <a:gd name="connsiteX24" fmla="*/ 134595 w 410657"/>
              <a:gd name="connsiteY24" fmla="*/ 621182 h 654123"/>
              <a:gd name="connsiteX25" fmla="*/ 134595 w 410657"/>
              <a:gd name="connsiteY25" fmla="*/ 202355 h 654123"/>
              <a:gd name="connsiteX26" fmla="*/ 129888 w 410657"/>
              <a:gd name="connsiteY26" fmla="*/ 202355 h 654123"/>
              <a:gd name="connsiteX27" fmla="*/ 111063 w 410657"/>
              <a:gd name="connsiteY27" fmla="*/ 192943 h 654123"/>
              <a:gd name="connsiteX28" fmla="*/ 2816 w 410657"/>
              <a:gd name="connsiteY28" fmla="*/ 32942 h 654123"/>
              <a:gd name="connsiteX29" fmla="*/ 12228 w 410657"/>
              <a:gd name="connsiteY29" fmla="*/ 0 h 654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10657" h="654123">
                <a:moveTo>
                  <a:pt x="206921" y="28842"/>
                </a:moveTo>
                <a:cubicBezTo>
                  <a:pt x="239416" y="28842"/>
                  <a:pt x="265758" y="55184"/>
                  <a:pt x="265758" y="87679"/>
                </a:cubicBezTo>
                <a:cubicBezTo>
                  <a:pt x="265758" y="120174"/>
                  <a:pt x="239416" y="146516"/>
                  <a:pt x="206921" y="146516"/>
                </a:cubicBezTo>
                <a:cubicBezTo>
                  <a:pt x="174426" y="146516"/>
                  <a:pt x="148084" y="120174"/>
                  <a:pt x="148084" y="87679"/>
                </a:cubicBezTo>
                <a:cubicBezTo>
                  <a:pt x="148084" y="55184"/>
                  <a:pt x="174426" y="28842"/>
                  <a:pt x="206921" y="28842"/>
                </a:cubicBezTo>
                <a:close/>
                <a:moveTo>
                  <a:pt x="12228" y="0"/>
                </a:moveTo>
                <a:cubicBezTo>
                  <a:pt x="12228" y="0"/>
                  <a:pt x="16935" y="0"/>
                  <a:pt x="21641" y="0"/>
                </a:cubicBezTo>
                <a:cubicBezTo>
                  <a:pt x="26348" y="0"/>
                  <a:pt x="35760" y="0"/>
                  <a:pt x="40467" y="9412"/>
                </a:cubicBezTo>
                <a:cubicBezTo>
                  <a:pt x="40467" y="9412"/>
                  <a:pt x="40467" y="9412"/>
                  <a:pt x="139301" y="160001"/>
                </a:cubicBezTo>
                <a:cubicBezTo>
                  <a:pt x="139301" y="160001"/>
                  <a:pt x="139301" y="160001"/>
                  <a:pt x="271080" y="160001"/>
                </a:cubicBezTo>
                <a:cubicBezTo>
                  <a:pt x="271080" y="160001"/>
                  <a:pt x="271080" y="160001"/>
                  <a:pt x="374621" y="9412"/>
                </a:cubicBezTo>
                <a:cubicBezTo>
                  <a:pt x="374621" y="0"/>
                  <a:pt x="384034" y="0"/>
                  <a:pt x="388740" y="0"/>
                </a:cubicBezTo>
                <a:cubicBezTo>
                  <a:pt x="393447" y="0"/>
                  <a:pt x="398153" y="0"/>
                  <a:pt x="402859" y="0"/>
                </a:cubicBezTo>
                <a:cubicBezTo>
                  <a:pt x="412272" y="9412"/>
                  <a:pt x="412272" y="23530"/>
                  <a:pt x="407566" y="32942"/>
                </a:cubicBezTo>
                <a:cubicBezTo>
                  <a:pt x="407566" y="32942"/>
                  <a:pt x="407566" y="32942"/>
                  <a:pt x="299319" y="192943"/>
                </a:cubicBezTo>
                <a:cubicBezTo>
                  <a:pt x="294612" y="197649"/>
                  <a:pt x="289906" y="202355"/>
                  <a:pt x="285199" y="202355"/>
                </a:cubicBezTo>
                <a:cubicBezTo>
                  <a:pt x="285199" y="202355"/>
                  <a:pt x="285199" y="202355"/>
                  <a:pt x="275787" y="202355"/>
                </a:cubicBezTo>
                <a:cubicBezTo>
                  <a:pt x="275787" y="202355"/>
                  <a:pt x="275787" y="202355"/>
                  <a:pt x="275787" y="621182"/>
                </a:cubicBezTo>
                <a:cubicBezTo>
                  <a:pt x="275787" y="635299"/>
                  <a:pt x="261668" y="654123"/>
                  <a:pt x="242842" y="654123"/>
                </a:cubicBezTo>
                <a:cubicBezTo>
                  <a:pt x="228723" y="654123"/>
                  <a:pt x="209897" y="635299"/>
                  <a:pt x="209897" y="621182"/>
                </a:cubicBezTo>
                <a:cubicBezTo>
                  <a:pt x="209897" y="621182"/>
                  <a:pt x="209897" y="621182"/>
                  <a:pt x="209897" y="381180"/>
                </a:cubicBezTo>
                <a:cubicBezTo>
                  <a:pt x="209897" y="381180"/>
                  <a:pt x="209897" y="381180"/>
                  <a:pt x="200484" y="381180"/>
                </a:cubicBezTo>
                <a:cubicBezTo>
                  <a:pt x="200484" y="381180"/>
                  <a:pt x="200484" y="381180"/>
                  <a:pt x="200484" y="621182"/>
                </a:cubicBezTo>
                <a:cubicBezTo>
                  <a:pt x="200484" y="635299"/>
                  <a:pt x="186365" y="654123"/>
                  <a:pt x="167540" y="654123"/>
                </a:cubicBezTo>
                <a:cubicBezTo>
                  <a:pt x="148714" y="654123"/>
                  <a:pt x="134595" y="635299"/>
                  <a:pt x="134595" y="621182"/>
                </a:cubicBezTo>
                <a:cubicBezTo>
                  <a:pt x="134595" y="621182"/>
                  <a:pt x="134595" y="621182"/>
                  <a:pt x="134595" y="202355"/>
                </a:cubicBezTo>
                <a:cubicBezTo>
                  <a:pt x="134595" y="202355"/>
                  <a:pt x="134595" y="202355"/>
                  <a:pt x="129888" y="202355"/>
                </a:cubicBezTo>
                <a:cubicBezTo>
                  <a:pt x="120476" y="202355"/>
                  <a:pt x="115769" y="197649"/>
                  <a:pt x="111063" y="192943"/>
                </a:cubicBezTo>
                <a:cubicBezTo>
                  <a:pt x="111063" y="192943"/>
                  <a:pt x="111063" y="192943"/>
                  <a:pt x="2816" y="32942"/>
                </a:cubicBezTo>
                <a:cubicBezTo>
                  <a:pt x="-1891" y="23530"/>
                  <a:pt x="-1891" y="9412"/>
                  <a:pt x="1222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1350"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0976F70-BD16-49FD-9CEA-AB9ECB520F42}"/>
              </a:ext>
            </a:extLst>
          </p:cNvPr>
          <p:cNvSpPr txBox="1"/>
          <p:nvPr/>
        </p:nvSpPr>
        <p:spPr>
          <a:xfrm>
            <a:off x="1581149" y="1873774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…text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57EC2588-4F47-44EB-A0FD-9CF7AF3A2AD2}"/>
              </a:ext>
            </a:extLst>
          </p:cNvPr>
          <p:cNvSpPr/>
          <p:nvPr/>
        </p:nvSpPr>
        <p:spPr bwMode="auto">
          <a:xfrm>
            <a:off x="669925" y="1834299"/>
            <a:ext cx="454025" cy="453339"/>
          </a:xfrm>
          <a:custGeom>
            <a:avLst/>
            <a:gdLst>
              <a:gd name="T0" fmla="*/ 3413 w 6827"/>
              <a:gd name="T1" fmla="*/ 0 h 6827"/>
              <a:gd name="T2" fmla="*/ 0 w 6827"/>
              <a:gd name="T3" fmla="*/ 3413 h 6827"/>
              <a:gd name="T4" fmla="*/ 3413 w 6827"/>
              <a:gd name="T5" fmla="*/ 6827 h 6827"/>
              <a:gd name="T6" fmla="*/ 6827 w 6827"/>
              <a:gd name="T7" fmla="*/ 3413 h 6827"/>
              <a:gd name="T8" fmla="*/ 2371 w 6827"/>
              <a:gd name="T9" fmla="*/ 605 h 6827"/>
              <a:gd name="T10" fmla="*/ 1626 w 6827"/>
              <a:gd name="T11" fmla="*/ 1011 h 6827"/>
              <a:gd name="T12" fmla="*/ 1303 w 6827"/>
              <a:gd name="T13" fmla="*/ 1290 h 6827"/>
              <a:gd name="T14" fmla="*/ 1605 w 6827"/>
              <a:gd name="T15" fmla="*/ 3204 h 6827"/>
              <a:gd name="T16" fmla="*/ 1303 w 6827"/>
              <a:gd name="T17" fmla="*/ 1290 h 6827"/>
              <a:gd name="T18" fmla="*/ 1605 w 6827"/>
              <a:gd name="T19" fmla="*/ 3622 h 6827"/>
              <a:gd name="T20" fmla="*/ 1303 w 6827"/>
              <a:gd name="T21" fmla="*/ 5537 h 6827"/>
              <a:gd name="T22" fmla="*/ 1626 w 6827"/>
              <a:gd name="T23" fmla="*/ 5816 h 6827"/>
              <a:gd name="T24" fmla="*/ 2371 w 6827"/>
              <a:gd name="T25" fmla="*/ 6222 h 6827"/>
              <a:gd name="T26" fmla="*/ 3204 w 6827"/>
              <a:gd name="T27" fmla="*/ 6371 h 6827"/>
              <a:gd name="T28" fmla="*/ 2385 w 6827"/>
              <a:gd name="T29" fmla="*/ 5407 h 6827"/>
              <a:gd name="T30" fmla="*/ 3204 w 6827"/>
              <a:gd name="T31" fmla="*/ 6371 h 6827"/>
              <a:gd name="T32" fmla="*/ 2242 w 6827"/>
              <a:gd name="T33" fmla="*/ 5014 h 6827"/>
              <a:gd name="T34" fmla="*/ 3204 w 6827"/>
              <a:gd name="T35" fmla="*/ 3622 h 6827"/>
              <a:gd name="T36" fmla="*/ 3204 w 6827"/>
              <a:gd name="T37" fmla="*/ 3204 h 6827"/>
              <a:gd name="T38" fmla="*/ 2242 w 6827"/>
              <a:gd name="T39" fmla="*/ 1813 h 6827"/>
              <a:gd name="T40" fmla="*/ 3204 w 6827"/>
              <a:gd name="T41" fmla="*/ 3204 h 6827"/>
              <a:gd name="T42" fmla="*/ 2385 w 6827"/>
              <a:gd name="T43" fmla="*/ 1420 h 6827"/>
              <a:gd name="T44" fmla="*/ 3204 w 6827"/>
              <a:gd name="T45" fmla="*/ 455 h 6827"/>
              <a:gd name="T46" fmla="*/ 6401 w 6827"/>
              <a:gd name="T47" fmla="*/ 3204 h 6827"/>
              <a:gd name="T48" fmla="*/ 4970 w 6827"/>
              <a:gd name="T49" fmla="*/ 1645 h 6827"/>
              <a:gd name="T50" fmla="*/ 6401 w 6827"/>
              <a:gd name="T51" fmla="*/ 3204 h 6827"/>
              <a:gd name="T52" fmla="*/ 4824 w 6827"/>
              <a:gd name="T53" fmla="*/ 1249 h 6827"/>
              <a:gd name="T54" fmla="*/ 5200 w 6827"/>
              <a:gd name="T55" fmla="*/ 1011 h 6827"/>
              <a:gd name="T56" fmla="*/ 4359 w 6827"/>
              <a:gd name="T57" fmla="*/ 1241 h 6827"/>
              <a:gd name="T58" fmla="*/ 3622 w 6827"/>
              <a:gd name="T59" fmla="*/ 1595 h 6827"/>
              <a:gd name="T60" fmla="*/ 3622 w 6827"/>
              <a:gd name="T61" fmla="*/ 2014 h 6827"/>
              <a:gd name="T62" fmla="*/ 4803 w 6827"/>
              <a:gd name="T63" fmla="*/ 3204 h 6827"/>
              <a:gd name="T64" fmla="*/ 3622 w 6827"/>
              <a:gd name="T65" fmla="*/ 2014 h 6827"/>
              <a:gd name="T66" fmla="*/ 4803 w 6827"/>
              <a:gd name="T67" fmla="*/ 3622 h 6827"/>
              <a:gd name="T68" fmla="*/ 3622 w 6827"/>
              <a:gd name="T69" fmla="*/ 4813 h 6827"/>
              <a:gd name="T70" fmla="*/ 4359 w 6827"/>
              <a:gd name="T71" fmla="*/ 5586 h 6827"/>
              <a:gd name="T72" fmla="*/ 3622 w 6827"/>
              <a:gd name="T73" fmla="*/ 5232 h 6827"/>
              <a:gd name="T74" fmla="*/ 4359 w 6827"/>
              <a:gd name="T75" fmla="*/ 5586 h 6827"/>
              <a:gd name="T76" fmla="*/ 4824 w 6827"/>
              <a:gd name="T77" fmla="*/ 5577 h 6827"/>
              <a:gd name="T78" fmla="*/ 4456 w 6827"/>
              <a:gd name="T79" fmla="*/ 6222 h 6827"/>
              <a:gd name="T80" fmla="*/ 4970 w 6827"/>
              <a:gd name="T81" fmla="*/ 5182 h 6827"/>
              <a:gd name="T82" fmla="*/ 6401 w 6827"/>
              <a:gd name="T83" fmla="*/ 3622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827" h="6827">
                <a:moveTo>
                  <a:pt x="5827" y="1000"/>
                </a:moveTo>
                <a:cubicBezTo>
                  <a:pt x="5182" y="355"/>
                  <a:pt x="4325" y="0"/>
                  <a:pt x="3413" y="0"/>
                </a:cubicBezTo>
                <a:cubicBezTo>
                  <a:pt x="2502" y="0"/>
                  <a:pt x="1644" y="355"/>
                  <a:pt x="1000" y="1000"/>
                </a:cubicBezTo>
                <a:cubicBezTo>
                  <a:pt x="355" y="1644"/>
                  <a:pt x="0" y="2502"/>
                  <a:pt x="0" y="3413"/>
                </a:cubicBezTo>
                <a:cubicBezTo>
                  <a:pt x="0" y="4325"/>
                  <a:pt x="355" y="5182"/>
                  <a:pt x="1000" y="5827"/>
                </a:cubicBezTo>
                <a:cubicBezTo>
                  <a:pt x="1644" y="6472"/>
                  <a:pt x="2502" y="6827"/>
                  <a:pt x="3413" y="6827"/>
                </a:cubicBezTo>
                <a:cubicBezTo>
                  <a:pt x="4325" y="6827"/>
                  <a:pt x="5182" y="6472"/>
                  <a:pt x="5827" y="5827"/>
                </a:cubicBezTo>
                <a:cubicBezTo>
                  <a:pt x="6472" y="5182"/>
                  <a:pt x="6827" y="4325"/>
                  <a:pt x="6827" y="3413"/>
                </a:cubicBezTo>
                <a:cubicBezTo>
                  <a:pt x="6827" y="2502"/>
                  <a:pt x="6472" y="1644"/>
                  <a:pt x="5827" y="1000"/>
                </a:cubicBezTo>
                <a:close/>
                <a:moveTo>
                  <a:pt x="2371" y="605"/>
                </a:moveTo>
                <a:cubicBezTo>
                  <a:pt x="2232" y="786"/>
                  <a:pt x="2108" y="1003"/>
                  <a:pt x="2003" y="1249"/>
                </a:cubicBezTo>
                <a:cubicBezTo>
                  <a:pt x="1872" y="1180"/>
                  <a:pt x="1746" y="1100"/>
                  <a:pt x="1626" y="1011"/>
                </a:cubicBezTo>
                <a:cubicBezTo>
                  <a:pt x="1852" y="842"/>
                  <a:pt x="2103" y="705"/>
                  <a:pt x="2371" y="605"/>
                </a:cubicBezTo>
                <a:close/>
                <a:moveTo>
                  <a:pt x="1303" y="1290"/>
                </a:moveTo>
                <a:cubicBezTo>
                  <a:pt x="1477" y="1426"/>
                  <a:pt x="1662" y="1545"/>
                  <a:pt x="1856" y="1645"/>
                </a:cubicBezTo>
                <a:cubicBezTo>
                  <a:pt x="1712" y="2102"/>
                  <a:pt x="1623" y="2632"/>
                  <a:pt x="1605" y="3204"/>
                </a:cubicBezTo>
                <a:lnTo>
                  <a:pt x="425" y="3204"/>
                </a:lnTo>
                <a:cubicBezTo>
                  <a:pt x="477" y="2458"/>
                  <a:pt x="803" y="1786"/>
                  <a:pt x="1303" y="1290"/>
                </a:cubicBezTo>
                <a:close/>
                <a:moveTo>
                  <a:pt x="425" y="3622"/>
                </a:moveTo>
                <a:lnTo>
                  <a:pt x="1605" y="3622"/>
                </a:lnTo>
                <a:cubicBezTo>
                  <a:pt x="1623" y="4194"/>
                  <a:pt x="1712" y="4724"/>
                  <a:pt x="1856" y="5182"/>
                </a:cubicBezTo>
                <a:cubicBezTo>
                  <a:pt x="1662" y="5282"/>
                  <a:pt x="1477" y="5400"/>
                  <a:pt x="1303" y="5537"/>
                </a:cubicBezTo>
                <a:cubicBezTo>
                  <a:pt x="803" y="5040"/>
                  <a:pt x="477" y="4368"/>
                  <a:pt x="425" y="3622"/>
                </a:cubicBezTo>
                <a:close/>
                <a:moveTo>
                  <a:pt x="1626" y="5816"/>
                </a:moveTo>
                <a:cubicBezTo>
                  <a:pt x="1746" y="5727"/>
                  <a:pt x="1872" y="5647"/>
                  <a:pt x="2003" y="5577"/>
                </a:cubicBezTo>
                <a:cubicBezTo>
                  <a:pt x="2108" y="5824"/>
                  <a:pt x="2232" y="6040"/>
                  <a:pt x="2371" y="6222"/>
                </a:cubicBezTo>
                <a:cubicBezTo>
                  <a:pt x="2103" y="6122"/>
                  <a:pt x="1852" y="5984"/>
                  <a:pt x="1626" y="5816"/>
                </a:cubicBezTo>
                <a:close/>
                <a:moveTo>
                  <a:pt x="3204" y="6371"/>
                </a:moveTo>
                <a:cubicBezTo>
                  <a:pt x="2936" y="6276"/>
                  <a:pt x="2675" y="6001"/>
                  <a:pt x="2467" y="5586"/>
                </a:cubicBezTo>
                <a:cubicBezTo>
                  <a:pt x="2438" y="5528"/>
                  <a:pt x="2411" y="5468"/>
                  <a:pt x="2385" y="5407"/>
                </a:cubicBezTo>
                <a:cubicBezTo>
                  <a:pt x="2647" y="5311"/>
                  <a:pt x="2923" y="5251"/>
                  <a:pt x="3204" y="5232"/>
                </a:cubicBezTo>
                <a:lnTo>
                  <a:pt x="3204" y="6371"/>
                </a:lnTo>
                <a:close/>
                <a:moveTo>
                  <a:pt x="3204" y="4813"/>
                </a:moveTo>
                <a:cubicBezTo>
                  <a:pt x="2874" y="4833"/>
                  <a:pt x="2550" y="4901"/>
                  <a:pt x="2242" y="5014"/>
                </a:cubicBezTo>
                <a:cubicBezTo>
                  <a:pt x="2115" y="4596"/>
                  <a:pt x="2040" y="4121"/>
                  <a:pt x="2024" y="3622"/>
                </a:cubicBezTo>
                <a:lnTo>
                  <a:pt x="3204" y="3622"/>
                </a:lnTo>
                <a:lnTo>
                  <a:pt x="3204" y="4813"/>
                </a:lnTo>
                <a:close/>
                <a:moveTo>
                  <a:pt x="3204" y="3204"/>
                </a:moveTo>
                <a:lnTo>
                  <a:pt x="2024" y="3204"/>
                </a:lnTo>
                <a:cubicBezTo>
                  <a:pt x="2040" y="2705"/>
                  <a:pt x="2115" y="2231"/>
                  <a:pt x="2242" y="1813"/>
                </a:cubicBezTo>
                <a:cubicBezTo>
                  <a:pt x="2550" y="1925"/>
                  <a:pt x="2874" y="1993"/>
                  <a:pt x="3204" y="2014"/>
                </a:cubicBezTo>
                <a:lnTo>
                  <a:pt x="3204" y="3204"/>
                </a:lnTo>
                <a:close/>
                <a:moveTo>
                  <a:pt x="3204" y="1595"/>
                </a:moveTo>
                <a:cubicBezTo>
                  <a:pt x="2923" y="1575"/>
                  <a:pt x="2647" y="1516"/>
                  <a:pt x="2385" y="1420"/>
                </a:cubicBezTo>
                <a:cubicBezTo>
                  <a:pt x="2411" y="1359"/>
                  <a:pt x="2438" y="1299"/>
                  <a:pt x="2467" y="1241"/>
                </a:cubicBezTo>
                <a:cubicBezTo>
                  <a:pt x="2675" y="825"/>
                  <a:pt x="2936" y="551"/>
                  <a:pt x="3204" y="455"/>
                </a:cubicBezTo>
                <a:lnTo>
                  <a:pt x="3204" y="1595"/>
                </a:lnTo>
                <a:close/>
                <a:moveTo>
                  <a:pt x="6401" y="3204"/>
                </a:moveTo>
                <a:lnTo>
                  <a:pt x="5221" y="3204"/>
                </a:lnTo>
                <a:cubicBezTo>
                  <a:pt x="5204" y="2632"/>
                  <a:pt x="5115" y="2102"/>
                  <a:pt x="4970" y="1645"/>
                </a:cubicBezTo>
                <a:cubicBezTo>
                  <a:pt x="5165" y="1545"/>
                  <a:pt x="5350" y="1426"/>
                  <a:pt x="5524" y="1290"/>
                </a:cubicBezTo>
                <a:cubicBezTo>
                  <a:pt x="6024" y="1786"/>
                  <a:pt x="6350" y="2458"/>
                  <a:pt x="6401" y="3204"/>
                </a:cubicBezTo>
                <a:close/>
                <a:moveTo>
                  <a:pt x="5200" y="1011"/>
                </a:moveTo>
                <a:cubicBezTo>
                  <a:pt x="5080" y="1100"/>
                  <a:pt x="4955" y="1180"/>
                  <a:pt x="4824" y="1249"/>
                </a:cubicBezTo>
                <a:cubicBezTo>
                  <a:pt x="4718" y="1003"/>
                  <a:pt x="4594" y="786"/>
                  <a:pt x="4456" y="605"/>
                </a:cubicBezTo>
                <a:cubicBezTo>
                  <a:pt x="4724" y="705"/>
                  <a:pt x="4974" y="842"/>
                  <a:pt x="5200" y="1011"/>
                </a:cubicBezTo>
                <a:close/>
                <a:moveTo>
                  <a:pt x="3622" y="455"/>
                </a:moveTo>
                <a:cubicBezTo>
                  <a:pt x="3891" y="551"/>
                  <a:pt x="4151" y="825"/>
                  <a:pt x="4359" y="1241"/>
                </a:cubicBezTo>
                <a:cubicBezTo>
                  <a:pt x="4388" y="1299"/>
                  <a:pt x="4416" y="1359"/>
                  <a:pt x="4442" y="1420"/>
                </a:cubicBezTo>
                <a:cubicBezTo>
                  <a:pt x="4180" y="1516"/>
                  <a:pt x="3904" y="1575"/>
                  <a:pt x="3622" y="1595"/>
                </a:cubicBezTo>
                <a:lnTo>
                  <a:pt x="3622" y="455"/>
                </a:lnTo>
                <a:close/>
                <a:moveTo>
                  <a:pt x="3622" y="2014"/>
                </a:moveTo>
                <a:cubicBezTo>
                  <a:pt x="3953" y="1993"/>
                  <a:pt x="4277" y="1925"/>
                  <a:pt x="4584" y="1813"/>
                </a:cubicBezTo>
                <a:cubicBezTo>
                  <a:pt x="4711" y="2231"/>
                  <a:pt x="4787" y="2705"/>
                  <a:pt x="4803" y="3204"/>
                </a:cubicBezTo>
                <a:lnTo>
                  <a:pt x="3622" y="3204"/>
                </a:lnTo>
                <a:lnTo>
                  <a:pt x="3622" y="2014"/>
                </a:lnTo>
                <a:close/>
                <a:moveTo>
                  <a:pt x="3622" y="3622"/>
                </a:moveTo>
                <a:lnTo>
                  <a:pt x="4803" y="3622"/>
                </a:lnTo>
                <a:cubicBezTo>
                  <a:pt x="4787" y="4121"/>
                  <a:pt x="4711" y="4596"/>
                  <a:pt x="4584" y="5014"/>
                </a:cubicBezTo>
                <a:cubicBezTo>
                  <a:pt x="4277" y="4901"/>
                  <a:pt x="3953" y="4833"/>
                  <a:pt x="3622" y="4813"/>
                </a:cubicBezTo>
                <a:lnTo>
                  <a:pt x="3622" y="3622"/>
                </a:lnTo>
                <a:close/>
                <a:moveTo>
                  <a:pt x="4359" y="5586"/>
                </a:moveTo>
                <a:cubicBezTo>
                  <a:pt x="4151" y="6001"/>
                  <a:pt x="3891" y="6276"/>
                  <a:pt x="3622" y="6371"/>
                </a:cubicBezTo>
                <a:lnTo>
                  <a:pt x="3622" y="5232"/>
                </a:lnTo>
                <a:cubicBezTo>
                  <a:pt x="3904" y="5251"/>
                  <a:pt x="4180" y="5311"/>
                  <a:pt x="4442" y="5407"/>
                </a:cubicBezTo>
                <a:cubicBezTo>
                  <a:pt x="4416" y="5468"/>
                  <a:pt x="4388" y="5528"/>
                  <a:pt x="4359" y="5586"/>
                </a:cubicBezTo>
                <a:close/>
                <a:moveTo>
                  <a:pt x="4456" y="6222"/>
                </a:moveTo>
                <a:cubicBezTo>
                  <a:pt x="4594" y="6040"/>
                  <a:pt x="4718" y="5824"/>
                  <a:pt x="4824" y="5577"/>
                </a:cubicBezTo>
                <a:cubicBezTo>
                  <a:pt x="4955" y="5647"/>
                  <a:pt x="5080" y="5727"/>
                  <a:pt x="5200" y="5816"/>
                </a:cubicBezTo>
                <a:cubicBezTo>
                  <a:pt x="4974" y="5984"/>
                  <a:pt x="4724" y="6122"/>
                  <a:pt x="4456" y="6222"/>
                </a:cubicBezTo>
                <a:close/>
                <a:moveTo>
                  <a:pt x="5524" y="5537"/>
                </a:moveTo>
                <a:cubicBezTo>
                  <a:pt x="5350" y="5401"/>
                  <a:pt x="5165" y="5282"/>
                  <a:pt x="4970" y="5182"/>
                </a:cubicBezTo>
                <a:cubicBezTo>
                  <a:pt x="5115" y="4724"/>
                  <a:pt x="5204" y="4194"/>
                  <a:pt x="5221" y="3622"/>
                </a:cubicBezTo>
                <a:lnTo>
                  <a:pt x="6401" y="3622"/>
                </a:lnTo>
                <a:cubicBezTo>
                  <a:pt x="6350" y="4368"/>
                  <a:pt x="6024" y="5040"/>
                  <a:pt x="5524" y="55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94600F4-B3B7-48FA-8212-BBD90A4CC333}"/>
              </a:ext>
            </a:extLst>
          </p:cNvPr>
          <p:cNvCxnSpPr/>
          <p:nvPr/>
        </p:nvCxnSpPr>
        <p:spPr>
          <a:xfrm>
            <a:off x="1400175" y="1678770"/>
            <a:ext cx="0" cy="685800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D93B3127-C16B-41DF-BA83-ABFDB8ECF55A}"/>
              </a:ext>
            </a:extLst>
          </p:cNvPr>
          <p:cNvSpPr txBox="1"/>
          <p:nvPr/>
        </p:nvSpPr>
        <p:spPr>
          <a:xfrm>
            <a:off x="1581149" y="3585058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…text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DB3AC9F7-B2D8-4321-8DA0-CAD62EB1C468}"/>
              </a:ext>
            </a:extLst>
          </p:cNvPr>
          <p:cNvSpPr/>
          <p:nvPr/>
        </p:nvSpPr>
        <p:spPr bwMode="auto">
          <a:xfrm>
            <a:off x="669925" y="3592584"/>
            <a:ext cx="454025" cy="453339"/>
          </a:xfrm>
          <a:custGeom>
            <a:avLst/>
            <a:gdLst>
              <a:gd name="T0" fmla="*/ 3413 w 6827"/>
              <a:gd name="T1" fmla="*/ 0 h 6827"/>
              <a:gd name="T2" fmla="*/ 0 w 6827"/>
              <a:gd name="T3" fmla="*/ 3413 h 6827"/>
              <a:gd name="T4" fmla="*/ 3413 w 6827"/>
              <a:gd name="T5" fmla="*/ 6827 h 6827"/>
              <a:gd name="T6" fmla="*/ 6827 w 6827"/>
              <a:gd name="T7" fmla="*/ 3413 h 6827"/>
              <a:gd name="T8" fmla="*/ 2371 w 6827"/>
              <a:gd name="T9" fmla="*/ 605 h 6827"/>
              <a:gd name="T10" fmla="*/ 1626 w 6827"/>
              <a:gd name="T11" fmla="*/ 1011 h 6827"/>
              <a:gd name="T12" fmla="*/ 1303 w 6827"/>
              <a:gd name="T13" fmla="*/ 1290 h 6827"/>
              <a:gd name="T14" fmla="*/ 1605 w 6827"/>
              <a:gd name="T15" fmla="*/ 3204 h 6827"/>
              <a:gd name="T16" fmla="*/ 1303 w 6827"/>
              <a:gd name="T17" fmla="*/ 1290 h 6827"/>
              <a:gd name="T18" fmla="*/ 1605 w 6827"/>
              <a:gd name="T19" fmla="*/ 3622 h 6827"/>
              <a:gd name="T20" fmla="*/ 1303 w 6827"/>
              <a:gd name="T21" fmla="*/ 5537 h 6827"/>
              <a:gd name="T22" fmla="*/ 1626 w 6827"/>
              <a:gd name="T23" fmla="*/ 5816 h 6827"/>
              <a:gd name="T24" fmla="*/ 2371 w 6827"/>
              <a:gd name="T25" fmla="*/ 6222 h 6827"/>
              <a:gd name="T26" fmla="*/ 3204 w 6827"/>
              <a:gd name="T27" fmla="*/ 6371 h 6827"/>
              <a:gd name="T28" fmla="*/ 2385 w 6827"/>
              <a:gd name="T29" fmla="*/ 5407 h 6827"/>
              <a:gd name="T30" fmla="*/ 3204 w 6827"/>
              <a:gd name="T31" fmla="*/ 6371 h 6827"/>
              <a:gd name="T32" fmla="*/ 2242 w 6827"/>
              <a:gd name="T33" fmla="*/ 5014 h 6827"/>
              <a:gd name="T34" fmla="*/ 3204 w 6827"/>
              <a:gd name="T35" fmla="*/ 3622 h 6827"/>
              <a:gd name="T36" fmla="*/ 3204 w 6827"/>
              <a:gd name="T37" fmla="*/ 3204 h 6827"/>
              <a:gd name="T38" fmla="*/ 2242 w 6827"/>
              <a:gd name="T39" fmla="*/ 1813 h 6827"/>
              <a:gd name="T40" fmla="*/ 3204 w 6827"/>
              <a:gd name="T41" fmla="*/ 3204 h 6827"/>
              <a:gd name="T42" fmla="*/ 2385 w 6827"/>
              <a:gd name="T43" fmla="*/ 1420 h 6827"/>
              <a:gd name="T44" fmla="*/ 3204 w 6827"/>
              <a:gd name="T45" fmla="*/ 455 h 6827"/>
              <a:gd name="T46" fmla="*/ 6401 w 6827"/>
              <a:gd name="T47" fmla="*/ 3204 h 6827"/>
              <a:gd name="T48" fmla="*/ 4970 w 6827"/>
              <a:gd name="T49" fmla="*/ 1645 h 6827"/>
              <a:gd name="T50" fmla="*/ 6401 w 6827"/>
              <a:gd name="T51" fmla="*/ 3204 h 6827"/>
              <a:gd name="T52" fmla="*/ 4824 w 6827"/>
              <a:gd name="T53" fmla="*/ 1249 h 6827"/>
              <a:gd name="T54" fmla="*/ 5200 w 6827"/>
              <a:gd name="T55" fmla="*/ 1011 h 6827"/>
              <a:gd name="T56" fmla="*/ 4359 w 6827"/>
              <a:gd name="T57" fmla="*/ 1241 h 6827"/>
              <a:gd name="T58" fmla="*/ 3622 w 6827"/>
              <a:gd name="T59" fmla="*/ 1595 h 6827"/>
              <a:gd name="T60" fmla="*/ 3622 w 6827"/>
              <a:gd name="T61" fmla="*/ 2014 h 6827"/>
              <a:gd name="T62" fmla="*/ 4803 w 6827"/>
              <a:gd name="T63" fmla="*/ 3204 h 6827"/>
              <a:gd name="T64" fmla="*/ 3622 w 6827"/>
              <a:gd name="T65" fmla="*/ 2014 h 6827"/>
              <a:gd name="T66" fmla="*/ 4803 w 6827"/>
              <a:gd name="T67" fmla="*/ 3622 h 6827"/>
              <a:gd name="T68" fmla="*/ 3622 w 6827"/>
              <a:gd name="T69" fmla="*/ 4813 h 6827"/>
              <a:gd name="T70" fmla="*/ 4359 w 6827"/>
              <a:gd name="T71" fmla="*/ 5586 h 6827"/>
              <a:gd name="T72" fmla="*/ 3622 w 6827"/>
              <a:gd name="T73" fmla="*/ 5232 h 6827"/>
              <a:gd name="T74" fmla="*/ 4359 w 6827"/>
              <a:gd name="T75" fmla="*/ 5586 h 6827"/>
              <a:gd name="T76" fmla="*/ 4824 w 6827"/>
              <a:gd name="T77" fmla="*/ 5577 h 6827"/>
              <a:gd name="T78" fmla="*/ 4456 w 6827"/>
              <a:gd name="T79" fmla="*/ 6222 h 6827"/>
              <a:gd name="T80" fmla="*/ 4970 w 6827"/>
              <a:gd name="T81" fmla="*/ 5182 h 6827"/>
              <a:gd name="T82" fmla="*/ 6401 w 6827"/>
              <a:gd name="T83" fmla="*/ 3622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827" h="6827">
                <a:moveTo>
                  <a:pt x="5827" y="1000"/>
                </a:moveTo>
                <a:cubicBezTo>
                  <a:pt x="5182" y="355"/>
                  <a:pt x="4325" y="0"/>
                  <a:pt x="3413" y="0"/>
                </a:cubicBezTo>
                <a:cubicBezTo>
                  <a:pt x="2502" y="0"/>
                  <a:pt x="1644" y="355"/>
                  <a:pt x="1000" y="1000"/>
                </a:cubicBezTo>
                <a:cubicBezTo>
                  <a:pt x="355" y="1644"/>
                  <a:pt x="0" y="2502"/>
                  <a:pt x="0" y="3413"/>
                </a:cubicBezTo>
                <a:cubicBezTo>
                  <a:pt x="0" y="4325"/>
                  <a:pt x="355" y="5182"/>
                  <a:pt x="1000" y="5827"/>
                </a:cubicBezTo>
                <a:cubicBezTo>
                  <a:pt x="1644" y="6472"/>
                  <a:pt x="2502" y="6827"/>
                  <a:pt x="3413" y="6827"/>
                </a:cubicBezTo>
                <a:cubicBezTo>
                  <a:pt x="4325" y="6827"/>
                  <a:pt x="5182" y="6472"/>
                  <a:pt x="5827" y="5827"/>
                </a:cubicBezTo>
                <a:cubicBezTo>
                  <a:pt x="6472" y="5182"/>
                  <a:pt x="6827" y="4325"/>
                  <a:pt x="6827" y="3413"/>
                </a:cubicBezTo>
                <a:cubicBezTo>
                  <a:pt x="6827" y="2502"/>
                  <a:pt x="6472" y="1644"/>
                  <a:pt x="5827" y="1000"/>
                </a:cubicBezTo>
                <a:close/>
                <a:moveTo>
                  <a:pt x="2371" y="605"/>
                </a:moveTo>
                <a:cubicBezTo>
                  <a:pt x="2232" y="786"/>
                  <a:pt x="2108" y="1003"/>
                  <a:pt x="2003" y="1249"/>
                </a:cubicBezTo>
                <a:cubicBezTo>
                  <a:pt x="1872" y="1180"/>
                  <a:pt x="1746" y="1100"/>
                  <a:pt x="1626" y="1011"/>
                </a:cubicBezTo>
                <a:cubicBezTo>
                  <a:pt x="1852" y="842"/>
                  <a:pt x="2103" y="705"/>
                  <a:pt x="2371" y="605"/>
                </a:cubicBezTo>
                <a:close/>
                <a:moveTo>
                  <a:pt x="1303" y="1290"/>
                </a:moveTo>
                <a:cubicBezTo>
                  <a:pt x="1477" y="1426"/>
                  <a:pt x="1662" y="1545"/>
                  <a:pt x="1856" y="1645"/>
                </a:cubicBezTo>
                <a:cubicBezTo>
                  <a:pt x="1712" y="2102"/>
                  <a:pt x="1623" y="2632"/>
                  <a:pt x="1605" y="3204"/>
                </a:cubicBezTo>
                <a:lnTo>
                  <a:pt x="425" y="3204"/>
                </a:lnTo>
                <a:cubicBezTo>
                  <a:pt x="477" y="2458"/>
                  <a:pt x="803" y="1786"/>
                  <a:pt x="1303" y="1290"/>
                </a:cubicBezTo>
                <a:close/>
                <a:moveTo>
                  <a:pt x="425" y="3622"/>
                </a:moveTo>
                <a:lnTo>
                  <a:pt x="1605" y="3622"/>
                </a:lnTo>
                <a:cubicBezTo>
                  <a:pt x="1623" y="4194"/>
                  <a:pt x="1712" y="4724"/>
                  <a:pt x="1856" y="5182"/>
                </a:cubicBezTo>
                <a:cubicBezTo>
                  <a:pt x="1662" y="5282"/>
                  <a:pt x="1477" y="5400"/>
                  <a:pt x="1303" y="5537"/>
                </a:cubicBezTo>
                <a:cubicBezTo>
                  <a:pt x="803" y="5040"/>
                  <a:pt x="477" y="4368"/>
                  <a:pt x="425" y="3622"/>
                </a:cubicBezTo>
                <a:close/>
                <a:moveTo>
                  <a:pt x="1626" y="5816"/>
                </a:moveTo>
                <a:cubicBezTo>
                  <a:pt x="1746" y="5727"/>
                  <a:pt x="1872" y="5647"/>
                  <a:pt x="2003" y="5577"/>
                </a:cubicBezTo>
                <a:cubicBezTo>
                  <a:pt x="2108" y="5824"/>
                  <a:pt x="2232" y="6040"/>
                  <a:pt x="2371" y="6222"/>
                </a:cubicBezTo>
                <a:cubicBezTo>
                  <a:pt x="2103" y="6122"/>
                  <a:pt x="1852" y="5984"/>
                  <a:pt x="1626" y="5816"/>
                </a:cubicBezTo>
                <a:close/>
                <a:moveTo>
                  <a:pt x="3204" y="6371"/>
                </a:moveTo>
                <a:cubicBezTo>
                  <a:pt x="2936" y="6276"/>
                  <a:pt x="2675" y="6001"/>
                  <a:pt x="2467" y="5586"/>
                </a:cubicBezTo>
                <a:cubicBezTo>
                  <a:pt x="2438" y="5528"/>
                  <a:pt x="2411" y="5468"/>
                  <a:pt x="2385" y="5407"/>
                </a:cubicBezTo>
                <a:cubicBezTo>
                  <a:pt x="2647" y="5311"/>
                  <a:pt x="2923" y="5251"/>
                  <a:pt x="3204" y="5232"/>
                </a:cubicBezTo>
                <a:lnTo>
                  <a:pt x="3204" y="6371"/>
                </a:lnTo>
                <a:close/>
                <a:moveTo>
                  <a:pt x="3204" y="4813"/>
                </a:moveTo>
                <a:cubicBezTo>
                  <a:pt x="2874" y="4833"/>
                  <a:pt x="2550" y="4901"/>
                  <a:pt x="2242" y="5014"/>
                </a:cubicBezTo>
                <a:cubicBezTo>
                  <a:pt x="2115" y="4596"/>
                  <a:pt x="2040" y="4121"/>
                  <a:pt x="2024" y="3622"/>
                </a:cubicBezTo>
                <a:lnTo>
                  <a:pt x="3204" y="3622"/>
                </a:lnTo>
                <a:lnTo>
                  <a:pt x="3204" y="4813"/>
                </a:lnTo>
                <a:close/>
                <a:moveTo>
                  <a:pt x="3204" y="3204"/>
                </a:moveTo>
                <a:lnTo>
                  <a:pt x="2024" y="3204"/>
                </a:lnTo>
                <a:cubicBezTo>
                  <a:pt x="2040" y="2705"/>
                  <a:pt x="2115" y="2231"/>
                  <a:pt x="2242" y="1813"/>
                </a:cubicBezTo>
                <a:cubicBezTo>
                  <a:pt x="2550" y="1925"/>
                  <a:pt x="2874" y="1993"/>
                  <a:pt x="3204" y="2014"/>
                </a:cubicBezTo>
                <a:lnTo>
                  <a:pt x="3204" y="3204"/>
                </a:lnTo>
                <a:close/>
                <a:moveTo>
                  <a:pt x="3204" y="1595"/>
                </a:moveTo>
                <a:cubicBezTo>
                  <a:pt x="2923" y="1575"/>
                  <a:pt x="2647" y="1516"/>
                  <a:pt x="2385" y="1420"/>
                </a:cubicBezTo>
                <a:cubicBezTo>
                  <a:pt x="2411" y="1359"/>
                  <a:pt x="2438" y="1299"/>
                  <a:pt x="2467" y="1241"/>
                </a:cubicBezTo>
                <a:cubicBezTo>
                  <a:pt x="2675" y="825"/>
                  <a:pt x="2936" y="551"/>
                  <a:pt x="3204" y="455"/>
                </a:cubicBezTo>
                <a:lnTo>
                  <a:pt x="3204" y="1595"/>
                </a:lnTo>
                <a:close/>
                <a:moveTo>
                  <a:pt x="6401" y="3204"/>
                </a:moveTo>
                <a:lnTo>
                  <a:pt x="5221" y="3204"/>
                </a:lnTo>
                <a:cubicBezTo>
                  <a:pt x="5204" y="2632"/>
                  <a:pt x="5115" y="2102"/>
                  <a:pt x="4970" y="1645"/>
                </a:cubicBezTo>
                <a:cubicBezTo>
                  <a:pt x="5165" y="1545"/>
                  <a:pt x="5350" y="1426"/>
                  <a:pt x="5524" y="1290"/>
                </a:cubicBezTo>
                <a:cubicBezTo>
                  <a:pt x="6024" y="1786"/>
                  <a:pt x="6350" y="2458"/>
                  <a:pt x="6401" y="3204"/>
                </a:cubicBezTo>
                <a:close/>
                <a:moveTo>
                  <a:pt x="5200" y="1011"/>
                </a:moveTo>
                <a:cubicBezTo>
                  <a:pt x="5080" y="1100"/>
                  <a:pt x="4955" y="1180"/>
                  <a:pt x="4824" y="1249"/>
                </a:cubicBezTo>
                <a:cubicBezTo>
                  <a:pt x="4718" y="1003"/>
                  <a:pt x="4594" y="786"/>
                  <a:pt x="4456" y="605"/>
                </a:cubicBezTo>
                <a:cubicBezTo>
                  <a:pt x="4724" y="705"/>
                  <a:pt x="4974" y="842"/>
                  <a:pt x="5200" y="1011"/>
                </a:cubicBezTo>
                <a:close/>
                <a:moveTo>
                  <a:pt x="3622" y="455"/>
                </a:moveTo>
                <a:cubicBezTo>
                  <a:pt x="3891" y="551"/>
                  <a:pt x="4151" y="825"/>
                  <a:pt x="4359" y="1241"/>
                </a:cubicBezTo>
                <a:cubicBezTo>
                  <a:pt x="4388" y="1299"/>
                  <a:pt x="4416" y="1359"/>
                  <a:pt x="4442" y="1420"/>
                </a:cubicBezTo>
                <a:cubicBezTo>
                  <a:pt x="4180" y="1516"/>
                  <a:pt x="3904" y="1575"/>
                  <a:pt x="3622" y="1595"/>
                </a:cubicBezTo>
                <a:lnTo>
                  <a:pt x="3622" y="455"/>
                </a:lnTo>
                <a:close/>
                <a:moveTo>
                  <a:pt x="3622" y="2014"/>
                </a:moveTo>
                <a:cubicBezTo>
                  <a:pt x="3953" y="1993"/>
                  <a:pt x="4277" y="1925"/>
                  <a:pt x="4584" y="1813"/>
                </a:cubicBezTo>
                <a:cubicBezTo>
                  <a:pt x="4711" y="2231"/>
                  <a:pt x="4787" y="2705"/>
                  <a:pt x="4803" y="3204"/>
                </a:cubicBezTo>
                <a:lnTo>
                  <a:pt x="3622" y="3204"/>
                </a:lnTo>
                <a:lnTo>
                  <a:pt x="3622" y="2014"/>
                </a:lnTo>
                <a:close/>
                <a:moveTo>
                  <a:pt x="3622" y="3622"/>
                </a:moveTo>
                <a:lnTo>
                  <a:pt x="4803" y="3622"/>
                </a:lnTo>
                <a:cubicBezTo>
                  <a:pt x="4787" y="4121"/>
                  <a:pt x="4711" y="4596"/>
                  <a:pt x="4584" y="5014"/>
                </a:cubicBezTo>
                <a:cubicBezTo>
                  <a:pt x="4277" y="4901"/>
                  <a:pt x="3953" y="4833"/>
                  <a:pt x="3622" y="4813"/>
                </a:cubicBezTo>
                <a:lnTo>
                  <a:pt x="3622" y="3622"/>
                </a:lnTo>
                <a:close/>
                <a:moveTo>
                  <a:pt x="4359" y="5586"/>
                </a:moveTo>
                <a:cubicBezTo>
                  <a:pt x="4151" y="6001"/>
                  <a:pt x="3891" y="6276"/>
                  <a:pt x="3622" y="6371"/>
                </a:cubicBezTo>
                <a:lnTo>
                  <a:pt x="3622" y="5232"/>
                </a:lnTo>
                <a:cubicBezTo>
                  <a:pt x="3904" y="5251"/>
                  <a:pt x="4180" y="5311"/>
                  <a:pt x="4442" y="5407"/>
                </a:cubicBezTo>
                <a:cubicBezTo>
                  <a:pt x="4416" y="5468"/>
                  <a:pt x="4388" y="5528"/>
                  <a:pt x="4359" y="5586"/>
                </a:cubicBezTo>
                <a:close/>
                <a:moveTo>
                  <a:pt x="4456" y="6222"/>
                </a:moveTo>
                <a:cubicBezTo>
                  <a:pt x="4594" y="6040"/>
                  <a:pt x="4718" y="5824"/>
                  <a:pt x="4824" y="5577"/>
                </a:cubicBezTo>
                <a:cubicBezTo>
                  <a:pt x="4955" y="5647"/>
                  <a:pt x="5080" y="5727"/>
                  <a:pt x="5200" y="5816"/>
                </a:cubicBezTo>
                <a:cubicBezTo>
                  <a:pt x="4974" y="5984"/>
                  <a:pt x="4724" y="6122"/>
                  <a:pt x="4456" y="6222"/>
                </a:cubicBezTo>
                <a:close/>
                <a:moveTo>
                  <a:pt x="5524" y="5537"/>
                </a:moveTo>
                <a:cubicBezTo>
                  <a:pt x="5350" y="5401"/>
                  <a:pt x="5165" y="5282"/>
                  <a:pt x="4970" y="5182"/>
                </a:cubicBezTo>
                <a:cubicBezTo>
                  <a:pt x="5115" y="4724"/>
                  <a:pt x="5204" y="4194"/>
                  <a:pt x="5221" y="3622"/>
                </a:cubicBezTo>
                <a:lnTo>
                  <a:pt x="6401" y="3622"/>
                </a:lnTo>
                <a:cubicBezTo>
                  <a:pt x="6350" y="4368"/>
                  <a:pt x="6024" y="5040"/>
                  <a:pt x="5524" y="553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D093D1D2-FA2D-4C43-A014-E32A2136D449}"/>
              </a:ext>
            </a:extLst>
          </p:cNvPr>
          <p:cNvCxnSpPr/>
          <p:nvPr/>
        </p:nvCxnSpPr>
        <p:spPr>
          <a:xfrm>
            <a:off x="1400175" y="3433116"/>
            <a:ext cx="0" cy="685800"/>
          </a:xfrm>
          <a:prstGeom prst="line">
            <a:avLst/>
          </a:prstGeom>
          <a:ln w="3175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E57F802C-EB0A-4BBA-8684-54923F808510}"/>
              </a:ext>
            </a:extLst>
          </p:cNvPr>
          <p:cNvSpPr txBox="1"/>
          <p:nvPr/>
        </p:nvSpPr>
        <p:spPr>
          <a:xfrm>
            <a:off x="1581149" y="5346930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…text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57589BDA-EA5F-4AF5-847B-C7347893E1D8}"/>
              </a:ext>
            </a:extLst>
          </p:cNvPr>
          <p:cNvSpPr/>
          <p:nvPr/>
        </p:nvSpPr>
        <p:spPr bwMode="auto">
          <a:xfrm>
            <a:off x="669925" y="5346930"/>
            <a:ext cx="454025" cy="453339"/>
          </a:xfrm>
          <a:custGeom>
            <a:avLst/>
            <a:gdLst>
              <a:gd name="T0" fmla="*/ 3413 w 6827"/>
              <a:gd name="T1" fmla="*/ 0 h 6827"/>
              <a:gd name="T2" fmla="*/ 0 w 6827"/>
              <a:gd name="T3" fmla="*/ 3413 h 6827"/>
              <a:gd name="T4" fmla="*/ 3413 w 6827"/>
              <a:gd name="T5" fmla="*/ 6827 h 6827"/>
              <a:gd name="T6" fmla="*/ 6827 w 6827"/>
              <a:gd name="T7" fmla="*/ 3413 h 6827"/>
              <a:gd name="T8" fmla="*/ 2371 w 6827"/>
              <a:gd name="T9" fmla="*/ 605 h 6827"/>
              <a:gd name="T10" fmla="*/ 1626 w 6827"/>
              <a:gd name="T11" fmla="*/ 1011 h 6827"/>
              <a:gd name="T12" fmla="*/ 1303 w 6827"/>
              <a:gd name="T13" fmla="*/ 1290 h 6827"/>
              <a:gd name="T14" fmla="*/ 1605 w 6827"/>
              <a:gd name="T15" fmla="*/ 3204 h 6827"/>
              <a:gd name="T16" fmla="*/ 1303 w 6827"/>
              <a:gd name="T17" fmla="*/ 1290 h 6827"/>
              <a:gd name="T18" fmla="*/ 1605 w 6827"/>
              <a:gd name="T19" fmla="*/ 3622 h 6827"/>
              <a:gd name="T20" fmla="*/ 1303 w 6827"/>
              <a:gd name="T21" fmla="*/ 5537 h 6827"/>
              <a:gd name="T22" fmla="*/ 1626 w 6827"/>
              <a:gd name="T23" fmla="*/ 5816 h 6827"/>
              <a:gd name="T24" fmla="*/ 2371 w 6827"/>
              <a:gd name="T25" fmla="*/ 6222 h 6827"/>
              <a:gd name="T26" fmla="*/ 3204 w 6827"/>
              <a:gd name="T27" fmla="*/ 6371 h 6827"/>
              <a:gd name="T28" fmla="*/ 2385 w 6827"/>
              <a:gd name="T29" fmla="*/ 5407 h 6827"/>
              <a:gd name="T30" fmla="*/ 3204 w 6827"/>
              <a:gd name="T31" fmla="*/ 6371 h 6827"/>
              <a:gd name="T32" fmla="*/ 2242 w 6827"/>
              <a:gd name="T33" fmla="*/ 5014 h 6827"/>
              <a:gd name="T34" fmla="*/ 3204 w 6827"/>
              <a:gd name="T35" fmla="*/ 3622 h 6827"/>
              <a:gd name="T36" fmla="*/ 3204 w 6827"/>
              <a:gd name="T37" fmla="*/ 3204 h 6827"/>
              <a:gd name="T38" fmla="*/ 2242 w 6827"/>
              <a:gd name="T39" fmla="*/ 1813 h 6827"/>
              <a:gd name="T40" fmla="*/ 3204 w 6827"/>
              <a:gd name="T41" fmla="*/ 3204 h 6827"/>
              <a:gd name="T42" fmla="*/ 2385 w 6827"/>
              <a:gd name="T43" fmla="*/ 1420 h 6827"/>
              <a:gd name="T44" fmla="*/ 3204 w 6827"/>
              <a:gd name="T45" fmla="*/ 455 h 6827"/>
              <a:gd name="T46" fmla="*/ 6401 w 6827"/>
              <a:gd name="T47" fmla="*/ 3204 h 6827"/>
              <a:gd name="T48" fmla="*/ 4970 w 6827"/>
              <a:gd name="T49" fmla="*/ 1645 h 6827"/>
              <a:gd name="T50" fmla="*/ 6401 w 6827"/>
              <a:gd name="T51" fmla="*/ 3204 h 6827"/>
              <a:gd name="T52" fmla="*/ 4824 w 6827"/>
              <a:gd name="T53" fmla="*/ 1249 h 6827"/>
              <a:gd name="T54" fmla="*/ 5200 w 6827"/>
              <a:gd name="T55" fmla="*/ 1011 h 6827"/>
              <a:gd name="T56" fmla="*/ 4359 w 6827"/>
              <a:gd name="T57" fmla="*/ 1241 h 6827"/>
              <a:gd name="T58" fmla="*/ 3622 w 6827"/>
              <a:gd name="T59" fmla="*/ 1595 h 6827"/>
              <a:gd name="T60" fmla="*/ 3622 w 6827"/>
              <a:gd name="T61" fmla="*/ 2014 h 6827"/>
              <a:gd name="T62" fmla="*/ 4803 w 6827"/>
              <a:gd name="T63" fmla="*/ 3204 h 6827"/>
              <a:gd name="T64" fmla="*/ 3622 w 6827"/>
              <a:gd name="T65" fmla="*/ 2014 h 6827"/>
              <a:gd name="T66" fmla="*/ 4803 w 6827"/>
              <a:gd name="T67" fmla="*/ 3622 h 6827"/>
              <a:gd name="T68" fmla="*/ 3622 w 6827"/>
              <a:gd name="T69" fmla="*/ 4813 h 6827"/>
              <a:gd name="T70" fmla="*/ 4359 w 6827"/>
              <a:gd name="T71" fmla="*/ 5586 h 6827"/>
              <a:gd name="T72" fmla="*/ 3622 w 6827"/>
              <a:gd name="T73" fmla="*/ 5232 h 6827"/>
              <a:gd name="T74" fmla="*/ 4359 w 6827"/>
              <a:gd name="T75" fmla="*/ 5586 h 6827"/>
              <a:gd name="T76" fmla="*/ 4824 w 6827"/>
              <a:gd name="T77" fmla="*/ 5577 h 6827"/>
              <a:gd name="T78" fmla="*/ 4456 w 6827"/>
              <a:gd name="T79" fmla="*/ 6222 h 6827"/>
              <a:gd name="T80" fmla="*/ 4970 w 6827"/>
              <a:gd name="T81" fmla="*/ 5182 h 6827"/>
              <a:gd name="T82" fmla="*/ 6401 w 6827"/>
              <a:gd name="T83" fmla="*/ 3622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827" h="6827">
                <a:moveTo>
                  <a:pt x="5827" y="1000"/>
                </a:moveTo>
                <a:cubicBezTo>
                  <a:pt x="5182" y="355"/>
                  <a:pt x="4325" y="0"/>
                  <a:pt x="3413" y="0"/>
                </a:cubicBezTo>
                <a:cubicBezTo>
                  <a:pt x="2502" y="0"/>
                  <a:pt x="1644" y="355"/>
                  <a:pt x="1000" y="1000"/>
                </a:cubicBezTo>
                <a:cubicBezTo>
                  <a:pt x="355" y="1644"/>
                  <a:pt x="0" y="2502"/>
                  <a:pt x="0" y="3413"/>
                </a:cubicBezTo>
                <a:cubicBezTo>
                  <a:pt x="0" y="4325"/>
                  <a:pt x="355" y="5182"/>
                  <a:pt x="1000" y="5827"/>
                </a:cubicBezTo>
                <a:cubicBezTo>
                  <a:pt x="1644" y="6472"/>
                  <a:pt x="2502" y="6827"/>
                  <a:pt x="3413" y="6827"/>
                </a:cubicBezTo>
                <a:cubicBezTo>
                  <a:pt x="4325" y="6827"/>
                  <a:pt x="5182" y="6472"/>
                  <a:pt x="5827" y="5827"/>
                </a:cubicBezTo>
                <a:cubicBezTo>
                  <a:pt x="6472" y="5182"/>
                  <a:pt x="6827" y="4325"/>
                  <a:pt x="6827" y="3413"/>
                </a:cubicBezTo>
                <a:cubicBezTo>
                  <a:pt x="6827" y="2502"/>
                  <a:pt x="6472" y="1644"/>
                  <a:pt x="5827" y="1000"/>
                </a:cubicBezTo>
                <a:close/>
                <a:moveTo>
                  <a:pt x="2371" y="605"/>
                </a:moveTo>
                <a:cubicBezTo>
                  <a:pt x="2232" y="786"/>
                  <a:pt x="2108" y="1003"/>
                  <a:pt x="2003" y="1249"/>
                </a:cubicBezTo>
                <a:cubicBezTo>
                  <a:pt x="1872" y="1180"/>
                  <a:pt x="1746" y="1100"/>
                  <a:pt x="1626" y="1011"/>
                </a:cubicBezTo>
                <a:cubicBezTo>
                  <a:pt x="1852" y="842"/>
                  <a:pt x="2103" y="705"/>
                  <a:pt x="2371" y="605"/>
                </a:cubicBezTo>
                <a:close/>
                <a:moveTo>
                  <a:pt x="1303" y="1290"/>
                </a:moveTo>
                <a:cubicBezTo>
                  <a:pt x="1477" y="1426"/>
                  <a:pt x="1662" y="1545"/>
                  <a:pt x="1856" y="1645"/>
                </a:cubicBezTo>
                <a:cubicBezTo>
                  <a:pt x="1712" y="2102"/>
                  <a:pt x="1623" y="2632"/>
                  <a:pt x="1605" y="3204"/>
                </a:cubicBezTo>
                <a:lnTo>
                  <a:pt x="425" y="3204"/>
                </a:lnTo>
                <a:cubicBezTo>
                  <a:pt x="477" y="2458"/>
                  <a:pt x="803" y="1786"/>
                  <a:pt x="1303" y="1290"/>
                </a:cubicBezTo>
                <a:close/>
                <a:moveTo>
                  <a:pt x="425" y="3622"/>
                </a:moveTo>
                <a:lnTo>
                  <a:pt x="1605" y="3622"/>
                </a:lnTo>
                <a:cubicBezTo>
                  <a:pt x="1623" y="4194"/>
                  <a:pt x="1712" y="4724"/>
                  <a:pt x="1856" y="5182"/>
                </a:cubicBezTo>
                <a:cubicBezTo>
                  <a:pt x="1662" y="5282"/>
                  <a:pt x="1477" y="5400"/>
                  <a:pt x="1303" y="5537"/>
                </a:cubicBezTo>
                <a:cubicBezTo>
                  <a:pt x="803" y="5040"/>
                  <a:pt x="477" y="4368"/>
                  <a:pt x="425" y="3622"/>
                </a:cubicBezTo>
                <a:close/>
                <a:moveTo>
                  <a:pt x="1626" y="5816"/>
                </a:moveTo>
                <a:cubicBezTo>
                  <a:pt x="1746" y="5727"/>
                  <a:pt x="1872" y="5647"/>
                  <a:pt x="2003" y="5577"/>
                </a:cubicBezTo>
                <a:cubicBezTo>
                  <a:pt x="2108" y="5824"/>
                  <a:pt x="2232" y="6040"/>
                  <a:pt x="2371" y="6222"/>
                </a:cubicBezTo>
                <a:cubicBezTo>
                  <a:pt x="2103" y="6122"/>
                  <a:pt x="1852" y="5984"/>
                  <a:pt x="1626" y="5816"/>
                </a:cubicBezTo>
                <a:close/>
                <a:moveTo>
                  <a:pt x="3204" y="6371"/>
                </a:moveTo>
                <a:cubicBezTo>
                  <a:pt x="2936" y="6276"/>
                  <a:pt x="2675" y="6001"/>
                  <a:pt x="2467" y="5586"/>
                </a:cubicBezTo>
                <a:cubicBezTo>
                  <a:pt x="2438" y="5528"/>
                  <a:pt x="2411" y="5468"/>
                  <a:pt x="2385" y="5407"/>
                </a:cubicBezTo>
                <a:cubicBezTo>
                  <a:pt x="2647" y="5311"/>
                  <a:pt x="2923" y="5251"/>
                  <a:pt x="3204" y="5232"/>
                </a:cubicBezTo>
                <a:lnTo>
                  <a:pt x="3204" y="6371"/>
                </a:lnTo>
                <a:close/>
                <a:moveTo>
                  <a:pt x="3204" y="4813"/>
                </a:moveTo>
                <a:cubicBezTo>
                  <a:pt x="2874" y="4833"/>
                  <a:pt x="2550" y="4901"/>
                  <a:pt x="2242" y="5014"/>
                </a:cubicBezTo>
                <a:cubicBezTo>
                  <a:pt x="2115" y="4596"/>
                  <a:pt x="2040" y="4121"/>
                  <a:pt x="2024" y="3622"/>
                </a:cubicBezTo>
                <a:lnTo>
                  <a:pt x="3204" y="3622"/>
                </a:lnTo>
                <a:lnTo>
                  <a:pt x="3204" y="4813"/>
                </a:lnTo>
                <a:close/>
                <a:moveTo>
                  <a:pt x="3204" y="3204"/>
                </a:moveTo>
                <a:lnTo>
                  <a:pt x="2024" y="3204"/>
                </a:lnTo>
                <a:cubicBezTo>
                  <a:pt x="2040" y="2705"/>
                  <a:pt x="2115" y="2231"/>
                  <a:pt x="2242" y="1813"/>
                </a:cubicBezTo>
                <a:cubicBezTo>
                  <a:pt x="2550" y="1925"/>
                  <a:pt x="2874" y="1993"/>
                  <a:pt x="3204" y="2014"/>
                </a:cubicBezTo>
                <a:lnTo>
                  <a:pt x="3204" y="3204"/>
                </a:lnTo>
                <a:close/>
                <a:moveTo>
                  <a:pt x="3204" y="1595"/>
                </a:moveTo>
                <a:cubicBezTo>
                  <a:pt x="2923" y="1575"/>
                  <a:pt x="2647" y="1516"/>
                  <a:pt x="2385" y="1420"/>
                </a:cubicBezTo>
                <a:cubicBezTo>
                  <a:pt x="2411" y="1359"/>
                  <a:pt x="2438" y="1299"/>
                  <a:pt x="2467" y="1241"/>
                </a:cubicBezTo>
                <a:cubicBezTo>
                  <a:pt x="2675" y="825"/>
                  <a:pt x="2936" y="551"/>
                  <a:pt x="3204" y="455"/>
                </a:cubicBezTo>
                <a:lnTo>
                  <a:pt x="3204" y="1595"/>
                </a:lnTo>
                <a:close/>
                <a:moveTo>
                  <a:pt x="6401" y="3204"/>
                </a:moveTo>
                <a:lnTo>
                  <a:pt x="5221" y="3204"/>
                </a:lnTo>
                <a:cubicBezTo>
                  <a:pt x="5204" y="2632"/>
                  <a:pt x="5115" y="2102"/>
                  <a:pt x="4970" y="1645"/>
                </a:cubicBezTo>
                <a:cubicBezTo>
                  <a:pt x="5165" y="1545"/>
                  <a:pt x="5350" y="1426"/>
                  <a:pt x="5524" y="1290"/>
                </a:cubicBezTo>
                <a:cubicBezTo>
                  <a:pt x="6024" y="1786"/>
                  <a:pt x="6350" y="2458"/>
                  <a:pt x="6401" y="3204"/>
                </a:cubicBezTo>
                <a:close/>
                <a:moveTo>
                  <a:pt x="5200" y="1011"/>
                </a:moveTo>
                <a:cubicBezTo>
                  <a:pt x="5080" y="1100"/>
                  <a:pt x="4955" y="1180"/>
                  <a:pt x="4824" y="1249"/>
                </a:cubicBezTo>
                <a:cubicBezTo>
                  <a:pt x="4718" y="1003"/>
                  <a:pt x="4594" y="786"/>
                  <a:pt x="4456" y="605"/>
                </a:cubicBezTo>
                <a:cubicBezTo>
                  <a:pt x="4724" y="705"/>
                  <a:pt x="4974" y="842"/>
                  <a:pt x="5200" y="1011"/>
                </a:cubicBezTo>
                <a:close/>
                <a:moveTo>
                  <a:pt x="3622" y="455"/>
                </a:moveTo>
                <a:cubicBezTo>
                  <a:pt x="3891" y="551"/>
                  <a:pt x="4151" y="825"/>
                  <a:pt x="4359" y="1241"/>
                </a:cubicBezTo>
                <a:cubicBezTo>
                  <a:pt x="4388" y="1299"/>
                  <a:pt x="4416" y="1359"/>
                  <a:pt x="4442" y="1420"/>
                </a:cubicBezTo>
                <a:cubicBezTo>
                  <a:pt x="4180" y="1516"/>
                  <a:pt x="3904" y="1575"/>
                  <a:pt x="3622" y="1595"/>
                </a:cubicBezTo>
                <a:lnTo>
                  <a:pt x="3622" y="455"/>
                </a:lnTo>
                <a:close/>
                <a:moveTo>
                  <a:pt x="3622" y="2014"/>
                </a:moveTo>
                <a:cubicBezTo>
                  <a:pt x="3953" y="1993"/>
                  <a:pt x="4277" y="1925"/>
                  <a:pt x="4584" y="1813"/>
                </a:cubicBezTo>
                <a:cubicBezTo>
                  <a:pt x="4711" y="2231"/>
                  <a:pt x="4787" y="2705"/>
                  <a:pt x="4803" y="3204"/>
                </a:cubicBezTo>
                <a:lnTo>
                  <a:pt x="3622" y="3204"/>
                </a:lnTo>
                <a:lnTo>
                  <a:pt x="3622" y="2014"/>
                </a:lnTo>
                <a:close/>
                <a:moveTo>
                  <a:pt x="3622" y="3622"/>
                </a:moveTo>
                <a:lnTo>
                  <a:pt x="4803" y="3622"/>
                </a:lnTo>
                <a:cubicBezTo>
                  <a:pt x="4787" y="4121"/>
                  <a:pt x="4711" y="4596"/>
                  <a:pt x="4584" y="5014"/>
                </a:cubicBezTo>
                <a:cubicBezTo>
                  <a:pt x="4277" y="4901"/>
                  <a:pt x="3953" y="4833"/>
                  <a:pt x="3622" y="4813"/>
                </a:cubicBezTo>
                <a:lnTo>
                  <a:pt x="3622" y="3622"/>
                </a:lnTo>
                <a:close/>
                <a:moveTo>
                  <a:pt x="4359" y="5586"/>
                </a:moveTo>
                <a:cubicBezTo>
                  <a:pt x="4151" y="6001"/>
                  <a:pt x="3891" y="6276"/>
                  <a:pt x="3622" y="6371"/>
                </a:cubicBezTo>
                <a:lnTo>
                  <a:pt x="3622" y="5232"/>
                </a:lnTo>
                <a:cubicBezTo>
                  <a:pt x="3904" y="5251"/>
                  <a:pt x="4180" y="5311"/>
                  <a:pt x="4442" y="5407"/>
                </a:cubicBezTo>
                <a:cubicBezTo>
                  <a:pt x="4416" y="5468"/>
                  <a:pt x="4388" y="5528"/>
                  <a:pt x="4359" y="5586"/>
                </a:cubicBezTo>
                <a:close/>
                <a:moveTo>
                  <a:pt x="4456" y="6222"/>
                </a:moveTo>
                <a:cubicBezTo>
                  <a:pt x="4594" y="6040"/>
                  <a:pt x="4718" y="5824"/>
                  <a:pt x="4824" y="5577"/>
                </a:cubicBezTo>
                <a:cubicBezTo>
                  <a:pt x="4955" y="5647"/>
                  <a:pt x="5080" y="5727"/>
                  <a:pt x="5200" y="5816"/>
                </a:cubicBezTo>
                <a:cubicBezTo>
                  <a:pt x="4974" y="5984"/>
                  <a:pt x="4724" y="6122"/>
                  <a:pt x="4456" y="6222"/>
                </a:cubicBezTo>
                <a:close/>
                <a:moveTo>
                  <a:pt x="5524" y="5537"/>
                </a:moveTo>
                <a:cubicBezTo>
                  <a:pt x="5350" y="5401"/>
                  <a:pt x="5165" y="5282"/>
                  <a:pt x="4970" y="5182"/>
                </a:cubicBezTo>
                <a:cubicBezTo>
                  <a:pt x="5115" y="4724"/>
                  <a:pt x="5204" y="4194"/>
                  <a:pt x="5221" y="3622"/>
                </a:cubicBezTo>
                <a:lnTo>
                  <a:pt x="6401" y="3622"/>
                </a:lnTo>
                <a:cubicBezTo>
                  <a:pt x="6350" y="4368"/>
                  <a:pt x="6024" y="5040"/>
                  <a:pt x="5524" y="55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BB6D3CEA-C106-43AC-8850-5660E2761569}"/>
              </a:ext>
            </a:extLst>
          </p:cNvPr>
          <p:cNvCxnSpPr/>
          <p:nvPr/>
        </p:nvCxnSpPr>
        <p:spPr>
          <a:xfrm>
            <a:off x="1400175" y="5187462"/>
            <a:ext cx="0" cy="685800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45650817-CBD8-48DA-95F4-5BBA0F59F821}"/>
              </a:ext>
            </a:extLst>
          </p:cNvPr>
          <p:cNvCxnSpPr/>
          <p:nvPr/>
        </p:nvCxnSpPr>
        <p:spPr>
          <a:xfrm flipH="1">
            <a:off x="669925" y="2898843"/>
            <a:ext cx="428229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E60880C-1835-4647-9A79-754469A2D9FE}"/>
              </a:ext>
            </a:extLst>
          </p:cNvPr>
          <p:cNvCxnSpPr>
            <a:cxnSpLocks/>
          </p:cNvCxnSpPr>
          <p:nvPr/>
        </p:nvCxnSpPr>
        <p:spPr>
          <a:xfrm flipH="1">
            <a:off x="669925" y="4653189"/>
            <a:ext cx="35496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F7B10C67-A23F-4552-8697-8585D6723B2D}"/>
              </a:ext>
            </a:extLst>
          </p:cNvPr>
          <p:cNvSpPr/>
          <p:nvPr/>
        </p:nvSpPr>
        <p:spPr bwMode="gray">
          <a:xfrm>
            <a:off x="7166613" y="1866064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Supporting 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2B154D0-46F2-4CE1-A123-804E600995B0}"/>
              </a:ext>
            </a:extLst>
          </p:cNvPr>
          <p:cNvSpPr/>
          <p:nvPr/>
        </p:nvSpPr>
        <p:spPr bwMode="gray">
          <a:xfrm>
            <a:off x="8432143" y="3463359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Supporting 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440DAE6-E839-46AC-8D8C-5EC0E6B08A1E}"/>
              </a:ext>
            </a:extLst>
          </p:cNvPr>
          <p:cNvSpPr/>
          <p:nvPr/>
        </p:nvSpPr>
        <p:spPr bwMode="gray">
          <a:xfrm>
            <a:off x="9118442" y="5060654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Supporting 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01190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613627-D046-4745-BD83-2912948E3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425BCA4-2F68-4CF0-AD05-B2CCE565C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0DD424F-79F7-45AF-9455-93114B64BA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1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8D58391-F8B0-4FCB-A342-FE0FAFDE93EF}"/>
              </a:ext>
            </a:extLst>
          </p:cNvPr>
          <p:cNvCxnSpPr>
            <a:cxnSpLocks/>
          </p:cNvCxnSpPr>
          <p:nvPr/>
        </p:nvCxnSpPr>
        <p:spPr>
          <a:xfrm flipH="1">
            <a:off x="7644384" y="3600617"/>
            <a:ext cx="327272" cy="941832"/>
          </a:xfrm>
          <a:prstGeom prst="line">
            <a:avLst/>
          </a:prstGeom>
          <a:ln w="152400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6F663227-7A52-4002-89C4-C66E2F4CF80A}"/>
              </a:ext>
            </a:extLst>
          </p:cNvPr>
          <p:cNvCxnSpPr>
            <a:cxnSpLocks/>
          </p:cNvCxnSpPr>
          <p:nvPr/>
        </p:nvCxnSpPr>
        <p:spPr>
          <a:xfrm flipH="1">
            <a:off x="4104540" y="4585600"/>
            <a:ext cx="291038" cy="876257"/>
          </a:xfrm>
          <a:prstGeom prst="line">
            <a:avLst/>
          </a:prstGeom>
          <a:ln w="152400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8D7F8B80-C84D-4AFE-83D5-7D9EDF914FEB}"/>
              </a:ext>
            </a:extLst>
          </p:cNvPr>
          <p:cNvCxnSpPr>
            <a:cxnSpLocks/>
          </p:cNvCxnSpPr>
          <p:nvPr/>
        </p:nvCxnSpPr>
        <p:spPr>
          <a:xfrm>
            <a:off x="767408" y="5549005"/>
            <a:ext cx="3359163" cy="0"/>
          </a:xfrm>
          <a:prstGeom prst="line">
            <a:avLst/>
          </a:prstGeom>
          <a:ln w="152400" cap="rnd">
            <a:solidFill>
              <a:schemeClr val="bg1">
                <a:lumMod val="85000"/>
              </a:schemeClr>
            </a:solidFill>
            <a:round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EA473B2E-80A8-4EC7-A80E-E1386FBEF064}"/>
              </a:ext>
            </a:extLst>
          </p:cNvPr>
          <p:cNvCxnSpPr>
            <a:cxnSpLocks/>
          </p:cNvCxnSpPr>
          <p:nvPr/>
        </p:nvCxnSpPr>
        <p:spPr>
          <a:xfrm>
            <a:off x="4395578" y="4583623"/>
            <a:ext cx="3248806" cy="0"/>
          </a:xfrm>
          <a:prstGeom prst="line">
            <a:avLst/>
          </a:prstGeom>
          <a:ln w="152400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D646C5D6-4400-4E85-9D56-9EB83FDE16BC}"/>
              </a:ext>
            </a:extLst>
          </p:cNvPr>
          <p:cNvCxnSpPr>
            <a:cxnSpLocks/>
          </p:cNvCxnSpPr>
          <p:nvPr/>
        </p:nvCxnSpPr>
        <p:spPr>
          <a:xfrm>
            <a:off x="7981039" y="3600617"/>
            <a:ext cx="3539449" cy="0"/>
          </a:xfrm>
          <a:prstGeom prst="line">
            <a:avLst/>
          </a:prstGeom>
          <a:ln w="152400" cap="rnd">
            <a:solidFill>
              <a:schemeClr val="bg1">
                <a:lumMod val="85000"/>
              </a:schemeClr>
            </a:solidFill>
            <a:round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椭圆 10">
            <a:extLst>
              <a:ext uri="{FF2B5EF4-FFF2-40B4-BE49-F238E27FC236}">
                <a16:creationId xmlns:a16="http://schemas.microsoft.com/office/drawing/2014/main" id="{D5B0D009-57E2-4B1F-BECE-E7BCCF7C266C}"/>
              </a:ext>
            </a:extLst>
          </p:cNvPr>
          <p:cNvSpPr/>
          <p:nvPr/>
        </p:nvSpPr>
        <p:spPr>
          <a:xfrm>
            <a:off x="1734239" y="5098734"/>
            <a:ext cx="866918" cy="866910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non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400" b="1" kern="0" dirty="0">
                <a:solidFill>
                  <a:schemeClr val="tx1"/>
                </a:solidFill>
                <a:cs typeface="+mn-ea"/>
                <a:sym typeface="+mn-lt"/>
              </a:rPr>
              <a:t>20XX</a:t>
            </a:r>
            <a:endParaRPr sz="1400" b="1" kern="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椭圆 11">
            <a:extLst>
              <a:ext uri="{FF2B5EF4-FFF2-40B4-BE49-F238E27FC236}">
                <a16:creationId xmlns:a16="http://schemas.microsoft.com/office/drawing/2014/main" id="{81C987D0-9477-4B73-BC7D-0C712C1BF4F1}"/>
              </a:ext>
            </a:extLst>
          </p:cNvPr>
          <p:cNvSpPr/>
          <p:nvPr/>
        </p:nvSpPr>
        <p:spPr>
          <a:xfrm>
            <a:off x="5433420" y="4157404"/>
            <a:ext cx="866918" cy="866910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2"/>
            </a:solidFill>
            <a:miter lim="800000"/>
          </a:ln>
          <a:effectLst/>
        </p:spPr>
        <p:txBody>
          <a:bodyPr wrap="non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400" b="1" kern="0" dirty="0">
                <a:cs typeface="+mn-ea"/>
                <a:sym typeface="+mn-lt"/>
              </a:rPr>
              <a:t>20XX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D9E75C2C-36B4-48C4-A971-3DF8A02F78EE}"/>
              </a:ext>
            </a:extLst>
          </p:cNvPr>
          <p:cNvSpPr/>
          <p:nvPr/>
        </p:nvSpPr>
        <p:spPr>
          <a:xfrm>
            <a:off x="9072732" y="3151564"/>
            <a:ext cx="866918" cy="866910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non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400" b="1" kern="0" dirty="0">
                <a:cs typeface="+mn-ea"/>
                <a:sym typeface="+mn-lt"/>
              </a:rPr>
              <a:t>20XX</a:t>
            </a:r>
          </a:p>
        </p:txBody>
      </p:sp>
      <p:sp>
        <p:nvSpPr>
          <p:cNvPr id="14" name="矩形: 剪去左右顶角 13">
            <a:extLst>
              <a:ext uri="{FF2B5EF4-FFF2-40B4-BE49-F238E27FC236}">
                <a16:creationId xmlns:a16="http://schemas.microsoft.com/office/drawing/2014/main" id="{D9A507F0-1EEC-46F0-885F-EBEFB354B5B1}"/>
              </a:ext>
            </a:extLst>
          </p:cNvPr>
          <p:cNvSpPr/>
          <p:nvPr/>
        </p:nvSpPr>
        <p:spPr>
          <a:xfrm>
            <a:off x="673740" y="4688954"/>
            <a:ext cx="2735631" cy="691908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F94B204-AFD6-4CC3-AE5D-A2EE1E0A8B14}"/>
              </a:ext>
            </a:extLst>
          </p:cNvPr>
          <p:cNvSpPr txBox="1"/>
          <p:nvPr/>
        </p:nvSpPr>
        <p:spPr bwMode="auto">
          <a:xfrm>
            <a:off x="673740" y="4156725"/>
            <a:ext cx="2735631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6" name="矩形: 剪去左右顶角 15">
            <a:extLst>
              <a:ext uri="{FF2B5EF4-FFF2-40B4-BE49-F238E27FC236}">
                <a16:creationId xmlns:a16="http://schemas.microsoft.com/office/drawing/2014/main" id="{8FF61D47-CD96-4035-B212-4420A784B219}"/>
              </a:ext>
            </a:extLst>
          </p:cNvPr>
          <p:cNvSpPr/>
          <p:nvPr/>
        </p:nvSpPr>
        <p:spPr>
          <a:xfrm>
            <a:off x="4455614" y="3305518"/>
            <a:ext cx="2735631" cy="866910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2830D85-8E02-4D88-8F56-603FFC2DA586}"/>
              </a:ext>
            </a:extLst>
          </p:cNvPr>
          <p:cNvSpPr txBox="1"/>
          <p:nvPr/>
        </p:nvSpPr>
        <p:spPr bwMode="auto">
          <a:xfrm>
            <a:off x="4455614" y="2773289"/>
            <a:ext cx="2735631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8" name="矩形: 剪去左右顶角 17">
            <a:extLst>
              <a:ext uri="{FF2B5EF4-FFF2-40B4-BE49-F238E27FC236}">
                <a16:creationId xmlns:a16="http://schemas.microsoft.com/office/drawing/2014/main" id="{77327830-DD6B-4D4E-AC75-1D06783CC571}"/>
              </a:ext>
            </a:extLst>
          </p:cNvPr>
          <p:cNvSpPr/>
          <p:nvPr/>
        </p:nvSpPr>
        <p:spPr>
          <a:xfrm>
            <a:off x="8019395" y="1999251"/>
            <a:ext cx="2735631" cy="1152313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D37F655-CA71-404A-8AFF-DE39B4929265}"/>
              </a:ext>
            </a:extLst>
          </p:cNvPr>
          <p:cNvSpPr txBox="1"/>
          <p:nvPr/>
        </p:nvSpPr>
        <p:spPr bwMode="auto">
          <a:xfrm>
            <a:off x="8019395" y="1467023"/>
            <a:ext cx="2735631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7216149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952EB8-BC53-4FB3-9E7B-108A0F457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9918A92-326D-4E09-90B7-5539776ED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A78CBBE-0F22-467D-8798-35CC6AE4E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6F624A93-F05F-860C-9808-C7714BB7867A}"/>
              </a:ext>
            </a:extLst>
          </p:cNvPr>
          <p:cNvGrpSpPr/>
          <p:nvPr/>
        </p:nvGrpSpPr>
        <p:grpSpPr>
          <a:xfrm>
            <a:off x="3668806" y="1520788"/>
            <a:ext cx="4138458" cy="4138460"/>
            <a:chOff x="3668806" y="1520788"/>
            <a:chExt cx="4138458" cy="4138460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78C3BBA2-7740-4B9B-93AE-55787B440EB6}"/>
                </a:ext>
              </a:extLst>
            </p:cNvPr>
            <p:cNvSpPr/>
            <p:nvPr/>
          </p:nvSpPr>
          <p:spPr bwMode="auto">
            <a:xfrm>
              <a:off x="7303499" y="3012222"/>
              <a:ext cx="433346" cy="1086978"/>
            </a:xfrm>
            <a:custGeom>
              <a:avLst/>
              <a:gdLst/>
              <a:ahLst/>
              <a:cxnLst>
                <a:cxn ang="0">
                  <a:pos x="0" y="346"/>
                </a:cxn>
                <a:cxn ang="0">
                  <a:pos x="73" y="563"/>
                </a:cxn>
                <a:cxn ang="0">
                  <a:pos x="224" y="391"/>
                </a:cxn>
                <a:cxn ang="0">
                  <a:pos x="149" y="376"/>
                </a:cxn>
                <a:cxn ang="0">
                  <a:pos x="108" y="0"/>
                </a:cxn>
                <a:cxn ang="0">
                  <a:pos x="35" y="24"/>
                </a:cxn>
                <a:cxn ang="0">
                  <a:pos x="73" y="361"/>
                </a:cxn>
                <a:cxn ang="0">
                  <a:pos x="0" y="346"/>
                </a:cxn>
              </a:cxnLst>
              <a:rect l="0" t="0" r="r" b="b"/>
              <a:pathLst>
                <a:path w="224" h="563">
                  <a:moveTo>
                    <a:pt x="0" y="346"/>
                  </a:moveTo>
                  <a:cubicBezTo>
                    <a:pt x="73" y="563"/>
                    <a:pt x="73" y="563"/>
                    <a:pt x="73" y="563"/>
                  </a:cubicBezTo>
                  <a:cubicBezTo>
                    <a:pt x="224" y="391"/>
                    <a:pt x="224" y="391"/>
                    <a:pt x="224" y="391"/>
                  </a:cubicBezTo>
                  <a:cubicBezTo>
                    <a:pt x="149" y="376"/>
                    <a:pt x="149" y="376"/>
                    <a:pt x="149" y="376"/>
                  </a:cubicBezTo>
                  <a:cubicBezTo>
                    <a:pt x="160" y="250"/>
                    <a:pt x="146" y="121"/>
                    <a:pt x="108" y="0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69" y="132"/>
                    <a:pt x="82" y="247"/>
                    <a:pt x="73" y="361"/>
                  </a:cubicBezTo>
                  <a:lnTo>
                    <a:pt x="0" y="346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08F4AA5-CF90-4775-A018-5F5FDFA7BDA5}"/>
                </a:ext>
              </a:extLst>
            </p:cNvPr>
            <p:cNvSpPr/>
            <p:nvPr/>
          </p:nvSpPr>
          <p:spPr bwMode="auto">
            <a:xfrm>
              <a:off x="5228855" y="1591207"/>
              <a:ext cx="1088784" cy="433347"/>
            </a:xfrm>
            <a:custGeom>
              <a:avLst/>
              <a:gdLst/>
              <a:ahLst/>
              <a:cxnLst>
                <a:cxn ang="0">
                  <a:pos x="361" y="151"/>
                </a:cxn>
                <a:cxn ang="0">
                  <a:pos x="346" y="224"/>
                </a:cxn>
                <a:cxn ang="0">
                  <a:pos x="563" y="151"/>
                </a:cxn>
                <a:cxn ang="0">
                  <a:pos x="391" y="0"/>
                </a:cxn>
                <a:cxn ang="0">
                  <a:pos x="376" y="75"/>
                </a:cxn>
                <a:cxn ang="0">
                  <a:pos x="0" y="116"/>
                </a:cxn>
                <a:cxn ang="0">
                  <a:pos x="23" y="189"/>
                </a:cxn>
                <a:cxn ang="0">
                  <a:pos x="361" y="151"/>
                </a:cxn>
              </a:cxnLst>
              <a:rect l="0" t="0" r="r" b="b"/>
              <a:pathLst>
                <a:path w="563" h="224">
                  <a:moveTo>
                    <a:pt x="361" y="151"/>
                  </a:moveTo>
                  <a:cubicBezTo>
                    <a:pt x="346" y="224"/>
                    <a:pt x="346" y="224"/>
                    <a:pt x="346" y="224"/>
                  </a:cubicBezTo>
                  <a:cubicBezTo>
                    <a:pt x="563" y="151"/>
                    <a:pt x="563" y="151"/>
                    <a:pt x="563" y="151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76" y="75"/>
                    <a:pt x="376" y="75"/>
                    <a:pt x="376" y="75"/>
                  </a:cubicBezTo>
                  <a:cubicBezTo>
                    <a:pt x="250" y="64"/>
                    <a:pt x="121" y="78"/>
                    <a:pt x="0" y="116"/>
                  </a:cubicBezTo>
                  <a:cubicBezTo>
                    <a:pt x="23" y="189"/>
                    <a:pt x="23" y="189"/>
                    <a:pt x="23" y="189"/>
                  </a:cubicBezTo>
                  <a:cubicBezTo>
                    <a:pt x="131" y="155"/>
                    <a:pt x="247" y="142"/>
                    <a:pt x="361" y="151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FDB0479-A80D-47C3-8059-B686E420D42F}"/>
                </a:ext>
              </a:extLst>
            </p:cNvPr>
            <p:cNvSpPr/>
            <p:nvPr/>
          </p:nvSpPr>
          <p:spPr bwMode="auto">
            <a:xfrm>
              <a:off x="3668806" y="3012222"/>
              <a:ext cx="433346" cy="1086978"/>
            </a:xfrm>
            <a:custGeom>
              <a:avLst/>
              <a:gdLst/>
              <a:ahLst/>
              <a:cxnLst>
                <a:cxn ang="0">
                  <a:pos x="116" y="563"/>
                </a:cxn>
                <a:cxn ang="0">
                  <a:pos x="189" y="540"/>
                </a:cxn>
                <a:cxn ang="0">
                  <a:pos x="151" y="202"/>
                </a:cxn>
                <a:cxn ang="0">
                  <a:pos x="224" y="217"/>
                </a:cxn>
                <a:cxn ang="0">
                  <a:pos x="151" y="0"/>
                </a:cxn>
                <a:cxn ang="0">
                  <a:pos x="0" y="172"/>
                </a:cxn>
                <a:cxn ang="0">
                  <a:pos x="75" y="187"/>
                </a:cxn>
                <a:cxn ang="0">
                  <a:pos x="116" y="563"/>
                </a:cxn>
              </a:cxnLst>
              <a:rect l="0" t="0" r="r" b="b"/>
              <a:pathLst>
                <a:path w="224" h="563">
                  <a:moveTo>
                    <a:pt x="116" y="563"/>
                  </a:moveTo>
                  <a:cubicBezTo>
                    <a:pt x="189" y="540"/>
                    <a:pt x="189" y="540"/>
                    <a:pt x="189" y="540"/>
                  </a:cubicBezTo>
                  <a:cubicBezTo>
                    <a:pt x="155" y="432"/>
                    <a:pt x="142" y="316"/>
                    <a:pt x="151" y="202"/>
                  </a:cubicBezTo>
                  <a:cubicBezTo>
                    <a:pt x="224" y="217"/>
                    <a:pt x="224" y="217"/>
                    <a:pt x="224" y="217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75" y="187"/>
                    <a:pt x="75" y="187"/>
                    <a:pt x="75" y="187"/>
                  </a:cubicBezTo>
                  <a:cubicBezTo>
                    <a:pt x="64" y="313"/>
                    <a:pt x="78" y="442"/>
                    <a:pt x="116" y="563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792EE4D1-4654-40A2-A0E3-56EAAFD43469}"/>
                </a:ext>
              </a:extLst>
            </p:cNvPr>
            <p:cNvSpPr/>
            <p:nvPr/>
          </p:nvSpPr>
          <p:spPr bwMode="auto">
            <a:xfrm>
              <a:off x="5228855" y="5225901"/>
              <a:ext cx="1088784" cy="433347"/>
            </a:xfrm>
            <a:custGeom>
              <a:avLst/>
              <a:gdLst/>
              <a:ahLst/>
              <a:cxnLst>
                <a:cxn ang="0">
                  <a:pos x="202" y="73"/>
                </a:cxn>
                <a:cxn ang="0">
                  <a:pos x="217" y="0"/>
                </a:cxn>
                <a:cxn ang="0">
                  <a:pos x="0" y="73"/>
                </a:cxn>
                <a:cxn ang="0">
                  <a:pos x="172" y="224"/>
                </a:cxn>
                <a:cxn ang="0">
                  <a:pos x="187" y="149"/>
                </a:cxn>
                <a:cxn ang="0">
                  <a:pos x="273" y="153"/>
                </a:cxn>
                <a:cxn ang="0">
                  <a:pos x="563" y="108"/>
                </a:cxn>
                <a:cxn ang="0">
                  <a:pos x="540" y="35"/>
                </a:cxn>
                <a:cxn ang="0">
                  <a:pos x="202" y="73"/>
                </a:cxn>
              </a:cxnLst>
              <a:rect l="0" t="0" r="r" b="b"/>
              <a:pathLst>
                <a:path w="563" h="224">
                  <a:moveTo>
                    <a:pt x="202" y="73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72" y="224"/>
                    <a:pt x="172" y="224"/>
                    <a:pt x="172" y="224"/>
                  </a:cubicBezTo>
                  <a:cubicBezTo>
                    <a:pt x="187" y="149"/>
                    <a:pt x="187" y="149"/>
                    <a:pt x="187" y="149"/>
                  </a:cubicBezTo>
                  <a:cubicBezTo>
                    <a:pt x="216" y="151"/>
                    <a:pt x="244" y="153"/>
                    <a:pt x="273" y="153"/>
                  </a:cubicBezTo>
                  <a:cubicBezTo>
                    <a:pt x="371" y="153"/>
                    <a:pt x="470" y="138"/>
                    <a:pt x="563" y="108"/>
                  </a:cubicBezTo>
                  <a:cubicBezTo>
                    <a:pt x="540" y="35"/>
                    <a:pt x="540" y="35"/>
                    <a:pt x="540" y="35"/>
                  </a:cubicBezTo>
                  <a:cubicBezTo>
                    <a:pt x="431" y="69"/>
                    <a:pt x="316" y="82"/>
                    <a:pt x="202" y="73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D8A5BA3D-F728-4F92-8504-0479602FBD54}"/>
                </a:ext>
              </a:extLst>
            </p:cNvPr>
            <p:cNvSpPr/>
            <p:nvPr/>
          </p:nvSpPr>
          <p:spPr bwMode="auto">
            <a:xfrm>
              <a:off x="3721166" y="1520788"/>
              <a:ext cx="1780332" cy="1780333"/>
            </a:xfrm>
            <a:custGeom>
              <a:avLst/>
              <a:gdLst/>
              <a:ahLst/>
              <a:cxnLst>
                <a:cxn ang="0">
                  <a:pos x="432" y="906"/>
                </a:cxn>
                <a:cxn ang="0">
                  <a:pos x="490" y="906"/>
                </a:cxn>
                <a:cxn ang="0">
                  <a:pos x="906" y="490"/>
                </a:cxn>
                <a:cxn ang="0">
                  <a:pos x="906" y="432"/>
                </a:cxn>
                <a:cxn ang="0">
                  <a:pos x="490" y="16"/>
                </a:cxn>
                <a:cxn ang="0">
                  <a:pos x="432" y="16"/>
                </a:cxn>
                <a:cxn ang="0">
                  <a:pos x="16" y="432"/>
                </a:cxn>
                <a:cxn ang="0">
                  <a:pos x="16" y="490"/>
                </a:cxn>
                <a:cxn ang="0">
                  <a:pos x="432" y="906"/>
                </a:cxn>
              </a:cxnLst>
              <a:rect l="0" t="0" r="r" b="b"/>
              <a:pathLst>
                <a:path w="922" h="922">
                  <a:moveTo>
                    <a:pt x="432" y="906"/>
                  </a:moveTo>
                  <a:cubicBezTo>
                    <a:pt x="448" y="922"/>
                    <a:pt x="474" y="922"/>
                    <a:pt x="490" y="906"/>
                  </a:cubicBezTo>
                  <a:cubicBezTo>
                    <a:pt x="906" y="490"/>
                    <a:pt x="906" y="490"/>
                    <a:pt x="906" y="490"/>
                  </a:cubicBezTo>
                  <a:cubicBezTo>
                    <a:pt x="922" y="474"/>
                    <a:pt x="922" y="448"/>
                    <a:pt x="906" y="432"/>
                  </a:cubicBezTo>
                  <a:cubicBezTo>
                    <a:pt x="490" y="16"/>
                    <a:pt x="490" y="16"/>
                    <a:pt x="490" y="16"/>
                  </a:cubicBezTo>
                  <a:cubicBezTo>
                    <a:pt x="474" y="0"/>
                    <a:pt x="448" y="0"/>
                    <a:pt x="432" y="16"/>
                  </a:cubicBezTo>
                  <a:cubicBezTo>
                    <a:pt x="16" y="432"/>
                    <a:pt x="16" y="432"/>
                    <a:pt x="16" y="432"/>
                  </a:cubicBezTo>
                  <a:cubicBezTo>
                    <a:pt x="0" y="448"/>
                    <a:pt x="0" y="474"/>
                    <a:pt x="16" y="490"/>
                  </a:cubicBezTo>
                  <a:lnTo>
                    <a:pt x="432" y="906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BE1BAC60-2A88-4BD2-BCC6-C2EA1AD3B053}"/>
                </a:ext>
              </a:extLst>
            </p:cNvPr>
            <p:cNvSpPr/>
            <p:nvPr/>
          </p:nvSpPr>
          <p:spPr bwMode="auto">
            <a:xfrm>
              <a:off x="6026932" y="1520788"/>
              <a:ext cx="1780332" cy="1780333"/>
            </a:xfrm>
            <a:custGeom>
              <a:avLst/>
              <a:gdLst/>
              <a:ahLst/>
              <a:cxnLst>
                <a:cxn ang="0">
                  <a:pos x="16" y="490"/>
                </a:cxn>
                <a:cxn ang="0">
                  <a:pos x="432" y="906"/>
                </a:cxn>
                <a:cxn ang="0">
                  <a:pos x="490" y="906"/>
                </a:cxn>
                <a:cxn ang="0">
                  <a:pos x="906" y="490"/>
                </a:cxn>
                <a:cxn ang="0">
                  <a:pos x="906" y="432"/>
                </a:cxn>
                <a:cxn ang="0">
                  <a:pos x="490" y="16"/>
                </a:cxn>
                <a:cxn ang="0">
                  <a:pos x="432" y="16"/>
                </a:cxn>
                <a:cxn ang="0">
                  <a:pos x="16" y="432"/>
                </a:cxn>
                <a:cxn ang="0">
                  <a:pos x="16" y="490"/>
                </a:cxn>
              </a:cxnLst>
              <a:rect l="0" t="0" r="r" b="b"/>
              <a:pathLst>
                <a:path w="922" h="922">
                  <a:moveTo>
                    <a:pt x="16" y="490"/>
                  </a:moveTo>
                  <a:cubicBezTo>
                    <a:pt x="432" y="906"/>
                    <a:pt x="432" y="906"/>
                    <a:pt x="432" y="906"/>
                  </a:cubicBezTo>
                  <a:cubicBezTo>
                    <a:pt x="448" y="922"/>
                    <a:pt x="474" y="922"/>
                    <a:pt x="490" y="906"/>
                  </a:cubicBezTo>
                  <a:cubicBezTo>
                    <a:pt x="906" y="490"/>
                    <a:pt x="906" y="490"/>
                    <a:pt x="906" y="490"/>
                  </a:cubicBezTo>
                  <a:cubicBezTo>
                    <a:pt x="922" y="474"/>
                    <a:pt x="922" y="448"/>
                    <a:pt x="906" y="432"/>
                  </a:cubicBezTo>
                  <a:cubicBezTo>
                    <a:pt x="490" y="16"/>
                    <a:pt x="490" y="16"/>
                    <a:pt x="490" y="16"/>
                  </a:cubicBezTo>
                  <a:cubicBezTo>
                    <a:pt x="474" y="0"/>
                    <a:pt x="448" y="0"/>
                    <a:pt x="432" y="16"/>
                  </a:cubicBezTo>
                  <a:cubicBezTo>
                    <a:pt x="16" y="432"/>
                    <a:pt x="16" y="432"/>
                    <a:pt x="16" y="432"/>
                  </a:cubicBezTo>
                  <a:cubicBezTo>
                    <a:pt x="0" y="448"/>
                    <a:pt x="0" y="474"/>
                    <a:pt x="16" y="49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A2FDC00-CF38-42D2-B246-D44654028274}"/>
                </a:ext>
              </a:extLst>
            </p:cNvPr>
            <p:cNvSpPr/>
            <p:nvPr/>
          </p:nvSpPr>
          <p:spPr bwMode="auto">
            <a:xfrm>
              <a:off x="6026932" y="3826552"/>
              <a:ext cx="1780332" cy="1780334"/>
            </a:xfrm>
            <a:custGeom>
              <a:avLst/>
              <a:gdLst/>
              <a:ahLst/>
              <a:cxnLst>
                <a:cxn ang="0">
                  <a:pos x="490" y="16"/>
                </a:cxn>
                <a:cxn ang="0">
                  <a:pos x="432" y="16"/>
                </a:cxn>
                <a:cxn ang="0">
                  <a:pos x="16" y="432"/>
                </a:cxn>
                <a:cxn ang="0">
                  <a:pos x="16" y="490"/>
                </a:cxn>
                <a:cxn ang="0">
                  <a:pos x="432" y="906"/>
                </a:cxn>
                <a:cxn ang="0">
                  <a:pos x="490" y="906"/>
                </a:cxn>
                <a:cxn ang="0">
                  <a:pos x="906" y="490"/>
                </a:cxn>
                <a:cxn ang="0">
                  <a:pos x="906" y="432"/>
                </a:cxn>
                <a:cxn ang="0">
                  <a:pos x="490" y="16"/>
                </a:cxn>
              </a:cxnLst>
              <a:rect l="0" t="0" r="r" b="b"/>
              <a:pathLst>
                <a:path w="922" h="922">
                  <a:moveTo>
                    <a:pt x="490" y="16"/>
                  </a:moveTo>
                  <a:cubicBezTo>
                    <a:pt x="474" y="0"/>
                    <a:pt x="448" y="0"/>
                    <a:pt x="432" y="16"/>
                  </a:cubicBezTo>
                  <a:cubicBezTo>
                    <a:pt x="16" y="432"/>
                    <a:pt x="16" y="432"/>
                    <a:pt x="16" y="432"/>
                  </a:cubicBezTo>
                  <a:cubicBezTo>
                    <a:pt x="0" y="448"/>
                    <a:pt x="0" y="474"/>
                    <a:pt x="16" y="490"/>
                  </a:cubicBezTo>
                  <a:cubicBezTo>
                    <a:pt x="432" y="906"/>
                    <a:pt x="432" y="906"/>
                    <a:pt x="432" y="906"/>
                  </a:cubicBezTo>
                  <a:cubicBezTo>
                    <a:pt x="448" y="922"/>
                    <a:pt x="474" y="922"/>
                    <a:pt x="490" y="906"/>
                  </a:cubicBezTo>
                  <a:cubicBezTo>
                    <a:pt x="906" y="490"/>
                    <a:pt x="906" y="490"/>
                    <a:pt x="906" y="490"/>
                  </a:cubicBezTo>
                  <a:cubicBezTo>
                    <a:pt x="922" y="474"/>
                    <a:pt x="922" y="448"/>
                    <a:pt x="906" y="432"/>
                  </a:cubicBezTo>
                  <a:lnTo>
                    <a:pt x="490" y="16"/>
                  </a:ln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D1B0DBC-5A6B-4C65-BBD0-02D96C8484F4}"/>
                </a:ext>
              </a:extLst>
            </p:cNvPr>
            <p:cNvSpPr/>
            <p:nvPr/>
          </p:nvSpPr>
          <p:spPr bwMode="auto">
            <a:xfrm>
              <a:off x="3721166" y="3826552"/>
              <a:ext cx="1780332" cy="1780334"/>
            </a:xfrm>
            <a:custGeom>
              <a:avLst/>
              <a:gdLst/>
              <a:ahLst/>
              <a:cxnLst>
                <a:cxn ang="0">
                  <a:pos x="906" y="432"/>
                </a:cxn>
                <a:cxn ang="0">
                  <a:pos x="490" y="16"/>
                </a:cxn>
                <a:cxn ang="0">
                  <a:pos x="432" y="16"/>
                </a:cxn>
                <a:cxn ang="0">
                  <a:pos x="16" y="432"/>
                </a:cxn>
                <a:cxn ang="0">
                  <a:pos x="16" y="490"/>
                </a:cxn>
                <a:cxn ang="0">
                  <a:pos x="432" y="906"/>
                </a:cxn>
                <a:cxn ang="0">
                  <a:pos x="490" y="906"/>
                </a:cxn>
                <a:cxn ang="0">
                  <a:pos x="906" y="490"/>
                </a:cxn>
                <a:cxn ang="0">
                  <a:pos x="906" y="432"/>
                </a:cxn>
              </a:cxnLst>
              <a:rect l="0" t="0" r="r" b="b"/>
              <a:pathLst>
                <a:path w="922" h="922">
                  <a:moveTo>
                    <a:pt x="906" y="432"/>
                  </a:moveTo>
                  <a:cubicBezTo>
                    <a:pt x="490" y="16"/>
                    <a:pt x="490" y="16"/>
                    <a:pt x="490" y="16"/>
                  </a:cubicBezTo>
                  <a:cubicBezTo>
                    <a:pt x="474" y="0"/>
                    <a:pt x="448" y="0"/>
                    <a:pt x="432" y="16"/>
                  </a:cubicBezTo>
                  <a:cubicBezTo>
                    <a:pt x="16" y="432"/>
                    <a:pt x="16" y="432"/>
                    <a:pt x="16" y="432"/>
                  </a:cubicBezTo>
                  <a:cubicBezTo>
                    <a:pt x="0" y="448"/>
                    <a:pt x="0" y="474"/>
                    <a:pt x="16" y="490"/>
                  </a:cubicBezTo>
                  <a:cubicBezTo>
                    <a:pt x="432" y="906"/>
                    <a:pt x="432" y="906"/>
                    <a:pt x="432" y="906"/>
                  </a:cubicBezTo>
                  <a:cubicBezTo>
                    <a:pt x="448" y="922"/>
                    <a:pt x="474" y="922"/>
                    <a:pt x="490" y="906"/>
                  </a:cubicBezTo>
                  <a:cubicBezTo>
                    <a:pt x="906" y="490"/>
                    <a:pt x="906" y="490"/>
                    <a:pt x="906" y="490"/>
                  </a:cubicBezTo>
                  <a:cubicBezTo>
                    <a:pt x="922" y="474"/>
                    <a:pt x="922" y="448"/>
                    <a:pt x="906" y="432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CEF90DC5-23BD-4E48-A96C-7EAFC2175415}"/>
                </a:ext>
              </a:extLst>
            </p:cNvPr>
            <p:cNvSpPr txBox="1"/>
            <p:nvPr/>
          </p:nvSpPr>
          <p:spPr>
            <a:xfrm>
              <a:off x="3806541" y="1968314"/>
              <a:ext cx="1609582" cy="94216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2800" b="1" dirty="0">
                  <a:cs typeface="+mn-ea"/>
                  <a:sym typeface="+mn-lt"/>
                </a:rPr>
                <a:t>18K</a:t>
              </a:r>
            </a:p>
            <a:p>
              <a:pPr algn="ctr"/>
              <a:r>
                <a:rPr lang="en-US" altLang="zh-CN" dirty="0">
                  <a:cs typeface="+mn-ea"/>
                  <a:sym typeface="+mn-lt"/>
                </a:rPr>
                <a:t>Q1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A9C0E906-862D-40E3-A3E6-1A3DE3B8AB9C}"/>
                </a:ext>
              </a:extLst>
            </p:cNvPr>
            <p:cNvSpPr txBox="1"/>
            <p:nvPr/>
          </p:nvSpPr>
          <p:spPr>
            <a:xfrm>
              <a:off x="6112307" y="1968314"/>
              <a:ext cx="1609582" cy="94216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2800" b="1" dirty="0">
                  <a:cs typeface="+mn-ea"/>
                  <a:sym typeface="+mn-lt"/>
                </a:rPr>
                <a:t>26K</a:t>
              </a:r>
            </a:p>
            <a:p>
              <a:pPr algn="ctr"/>
              <a:r>
                <a:rPr lang="en-US" altLang="zh-CN" dirty="0">
                  <a:cs typeface="+mn-ea"/>
                  <a:sym typeface="+mn-lt"/>
                </a:rPr>
                <a:t>Q2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FFFADF8C-E49B-405E-8AC9-82FA37D8E470}"/>
                </a:ext>
              </a:extLst>
            </p:cNvPr>
            <p:cNvSpPr txBox="1"/>
            <p:nvPr/>
          </p:nvSpPr>
          <p:spPr>
            <a:xfrm>
              <a:off x="3806541" y="4275690"/>
              <a:ext cx="1609582" cy="94216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2800" b="1" dirty="0">
                  <a:cs typeface="+mn-ea"/>
                  <a:sym typeface="+mn-lt"/>
                </a:rPr>
                <a:t>52K</a:t>
              </a:r>
            </a:p>
            <a:p>
              <a:pPr algn="ctr"/>
              <a:r>
                <a:rPr lang="en-US" altLang="zh-CN" dirty="0">
                  <a:cs typeface="+mn-ea"/>
                  <a:sym typeface="+mn-lt"/>
                </a:rPr>
                <a:t>Q4</a:t>
              </a:r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DBD54C2-2E0D-4B1D-B0BB-86669D77A6F7}"/>
                </a:ext>
              </a:extLst>
            </p:cNvPr>
            <p:cNvSpPr txBox="1"/>
            <p:nvPr/>
          </p:nvSpPr>
          <p:spPr>
            <a:xfrm>
              <a:off x="6112307" y="4275690"/>
              <a:ext cx="1609582" cy="942160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lang="en-US" altLang="zh-CN" sz="2800" b="1" dirty="0">
                  <a:cs typeface="+mn-ea"/>
                  <a:sym typeface="+mn-lt"/>
                </a:rPr>
                <a:t>36K</a:t>
              </a:r>
            </a:p>
            <a:p>
              <a:pPr algn="ctr"/>
              <a:r>
                <a:rPr lang="en-US" altLang="zh-CN" dirty="0">
                  <a:cs typeface="+mn-ea"/>
                  <a:sym typeface="+mn-lt"/>
                </a:rPr>
                <a:t>Q3</a:t>
              </a:r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18" name="矩形: 剪去左右顶角 17">
            <a:extLst>
              <a:ext uri="{FF2B5EF4-FFF2-40B4-BE49-F238E27FC236}">
                <a16:creationId xmlns:a16="http://schemas.microsoft.com/office/drawing/2014/main" id="{648480BD-04EF-43B8-8D0D-689C7BC8A0CD}"/>
              </a:ext>
            </a:extLst>
          </p:cNvPr>
          <p:cNvSpPr/>
          <p:nvPr/>
        </p:nvSpPr>
        <p:spPr>
          <a:xfrm>
            <a:off x="8504914" y="2556524"/>
            <a:ext cx="2725416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ED4C313-4E60-4BF4-98F0-D6F372966A56}"/>
              </a:ext>
            </a:extLst>
          </p:cNvPr>
          <p:cNvSpPr txBox="1"/>
          <p:nvPr/>
        </p:nvSpPr>
        <p:spPr bwMode="auto">
          <a:xfrm>
            <a:off x="8504914" y="2024296"/>
            <a:ext cx="2725416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defTabSz="914377">
              <a:spcBef>
                <a:spcPct val="0"/>
              </a:spcBef>
              <a:defRPr sz="1800" b="1"/>
            </a:lvl1pPr>
            <a:lvl2pPr marL="457189" defTabSz="914377">
              <a:defRPr sz="1800"/>
            </a:lvl2pPr>
            <a:lvl3pPr marL="914377" defTabSz="914377">
              <a:defRPr sz="1800"/>
            </a:lvl3pPr>
            <a:lvl4pPr marL="1371566" defTabSz="914377">
              <a:defRPr sz="1800"/>
            </a:lvl4pPr>
            <a:lvl5pPr marL="1828754" defTabSz="914377">
              <a:defRPr sz="1800"/>
            </a:lvl5pPr>
            <a:lvl6pPr marL="2285943" defTabSz="914377">
              <a:defRPr sz="1800"/>
            </a:lvl6pPr>
            <a:lvl7pPr marL="2743131" defTabSz="914377">
              <a:defRPr sz="1800"/>
            </a:lvl7pPr>
            <a:lvl8pPr marL="3200320" defTabSz="914377">
              <a:defRPr sz="1800"/>
            </a:lvl8pPr>
            <a:lvl9pPr marL="3657509" defTabSz="914377">
              <a:defRPr sz="1800"/>
            </a:lvl9pPr>
          </a:lstStyle>
          <a:p>
            <a:r>
              <a:rPr lang="en-US" altLang="zh-CN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0" name="矩形: 剪去左右顶角 19">
            <a:extLst>
              <a:ext uri="{FF2B5EF4-FFF2-40B4-BE49-F238E27FC236}">
                <a16:creationId xmlns:a16="http://schemas.microsoft.com/office/drawing/2014/main" id="{6F7DF1EF-5F46-4D2A-B8FE-CB94631E229F}"/>
              </a:ext>
            </a:extLst>
          </p:cNvPr>
          <p:cNvSpPr/>
          <p:nvPr/>
        </p:nvSpPr>
        <p:spPr>
          <a:xfrm>
            <a:off x="8504914" y="4482987"/>
            <a:ext cx="2725416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11FD1A3-1FE8-47D7-A4C5-E1CB8E0B16E6}"/>
              </a:ext>
            </a:extLst>
          </p:cNvPr>
          <p:cNvSpPr txBox="1"/>
          <p:nvPr/>
        </p:nvSpPr>
        <p:spPr bwMode="auto">
          <a:xfrm>
            <a:off x="8504914" y="3950759"/>
            <a:ext cx="2725416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defTabSz="914377">
              <a:spcBef>
                <a:spcPct val="0"/>
              </a:spcBef>
              <a:defRPr sz="1800" b="1"/>
            </a:lvl1pPr>
            <a:lvl2pPr marL="457189" defTabSz="914377">
              <a:defRPr sz="1800"/>
            </a:lvl2pPr>
            <a:lvl3pPr marL="914377" defTabSz="914377">
              <a:defRPr sz="1800"/>
            </a:lvl3pPr>
            <a:lvl4pPr marL="1371566" defTabSz="914377">
              <a:defRPr sz="1800"/>
            </a:lvl4pPr>
            <a:lvl5pPr marL="1828754" defTabSz="914377">
              <a:defRPr sz="1800"/>
            </a:lvl5pPr>
            <a:lvl6pPr marL="2285943" defTabSz="914377">
              <a:defRPr sz="1800"/>
            </a:lvl6pPr>
            <a:lvl7pPr marL="2743131" defTabSz="914377">
              <a:defRPr sz="1800"/>
            </a:lvl7pPr>
            <a:lvl8pPr marL="3200320" defTabSz="914377">
              <a:defRPr sz="1800"/>
            </a:lvl8pPr>
            <a:lvl9pPr marL="3657509" defTabSz="914377">
              <a:defRPr sz="1800"/>
            </a:lvl9pPr>
          </a:lstStyle>
          <a:p>
            <a:r>
              <a:rPr lang="en-US" altLang="zh-CN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BD4667AF-694A-4692-84D5-C921635F71B4}"/>
              </a:ext>
            </a:extLst>
          </p:cNvPr>
          <p:cNvCxnSpPr>
            <a:cxnSpLocks/>
          </p:cNvCxnSpPr>
          <p:nvPr/>
        </p:nvCxnSpPr>
        <p:spPr>
          <a:xfrm>
            <a:off x="8617501" y="3575129"/>
            <a:ext cx="196098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C05A0316-2D99-4CDA-9024-9134A6BE4BFE}"/>
              </a:ext>
            </a:extLst>
          </p:cNvPr>
          <p:cNvCxnSpPr>
            <a:cxnSpLocks/>
          </p:cNvCxnSpPr>
          <p:nvPr/>
        </p:nvCxnSpPr>
        <p:spPr>
          <a:xfrm>
            <a:off x="961670" y="3575129"/>
            <a:ext cx="1788014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矩形: 剪去左右顶角 23">
            <a:extLst>
              <a:ext uri="{FF2B5EF4-FFF2-40B4-BE49-F238E27FC236}">
                <a16:creationId xmlns:a16="http://schemas.microsoft.com/office/drawing/2014/main" id="{779417FD-0E13-4171-9124-903AF8F8F0A9}"/>
              </a:ext>
            </a:extLst>
          </p:cNvPr>
          <p:cNvSpPr/>
          <p:nvPr/>
        </p:nvSpPr>
        <p:spPr>
          <a:xfrm>
            <a:off x="961670" y="2556524"/>
            <a:ext cx="2802183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92BEE6C-63D4-4271-9656-BC91CBD2BC7A}"/>
              </a:ext>
            </a:extLst>
          </p:cNvPr>
          <p:cNvSpPr txBox="1"/>
          <p:nvPr/>
        </p:nvSpPr>
        <p:spPr bwMode="auto">
          <a:xfrm>
            <a:off x="961670" y="2024296"/>
            <a:ext cx="280218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6" name="矩形: 剪去左右顶角 25">
            <a:extLst>
              <a:ext uri="{FF2B5EF4-FFF2-40B4-BE49-F238E27FC236}">
                <a16:creationId xmlns:a16="http://schemas.microsoft.com/office/drawing/2014/main" id="{6743CC82-83A0-443F-B95A-48644F2200B7}"/>
              </a:ext>
            </a:extLst>
          </p:cNvPr>
          <p:cNvSpPr/>
          <p:nvPr/>
        </p:nvSpPr>
        <p:spPr>
          <a:xfrm>
            <a:off x="961670" y="4482987"/>
            <a:ext cx="2802183" cy="112837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3E2FEB47-386C-420F-899E-DA858EB3AC8B}"/>
              </a:ext>
            </a:extLst>
          </p:cNvPr>
          <p:cNvSpPr txBox="1"/>
          <p:nvPr/>
        </p:nvSpPr>
        <p:spPr bwMode="auto">
          <a:xfrm>
            <a:off x="961670" y="3950759"/>
            <a:ext cx="280218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defTabSz="914377">
              <a:spcBef>
                <a:spcPct val="0"/>
              </a:spcBef>
              <a:defRPr sz="1800" b="1"/>
            </a:lvl1pPr>
            <a:lvl2pPr marL="457189" defTabSz="914377">
              <a:defRPr sz="1800"/>
            </a:lvl2pPr>
            <a:lvl3pPr marL="914377" defTabSz="914377">
              <a:defRPr sz="1800"/>
            </a:lvl3pPr>
            <a:lvl4pPr marL="1371566" defTabSz="914377">
              <a:defRPr sz="1800"/>
            </a:lvl4pPr>
            <a:lvl5pPr marL="1828754" defTabSz="914377">
              <a:defRPr sz="1800"/>
            </a:lvl5pPr>
            <a:lvl6pPr marL="2285943" defTabSz="914377">
              <a:defRPr sz="1800"/>
            </a:lvl6pPr>
            <a:lvl7pPr marL="2743131" defTabSz="914377">
              <a:defRPr sz="1800"/>
            </a:lvl7pPr>
            <a:lvl8pPr marL="3200320" defTabSz="914377">
              <a:defRPr sz="1800"/>
            </a:lvl8pPr>
            <a:lvl9pPr marL="3657509" defTabSz="914377">
              <a:defRPr sz="1800"/>
            </a:lvl9pPr>
          </a:lstStyle>
          <a:p>
            <a:r>
              <a:rPr lang="en-US" altLang="zh-CN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006043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41C539-D1BE-4AAC-914A-AA39539FE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98309ED-9063-45DB-8F2C-C8EF1BC66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401610-E9A1-4FA3-9F34-52A1958AD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AFDAB97-5D5C-4AAF-92C9-1135B7C349C8}"/>
              </a:ext>
            </a:extLst>
          </p:cNvPr>
          <p:cNvSpPr/>
          <p:nvPr/>
        </p:nvSpPr>
        <p:spPr bwMode="auto">
          <a:xfrm>
            <a:off x="3288439" y="3360799"/>
            <a:ext cx="1020862" cy="77633"/>
          </a:xfrm>
          <a:custGeom>
            <a:avLst/>
            <a:gdLst>
              <a:gd name="T0" fmla="*/ 165 w 165"/>
              <a:gd name="T1" fmla="*/ 0 h 8"/>
              <a:gd name="T2" fmla="*/ 0 w 165"/>
              <a:gd name="T3" fmla="*/ 0 h 8"/>
              <a:gd name="T4" fmla="*/ 0 w 165"/>
              <a:gd name="T5" fmla="*/ 5 h 8"/>
              <a:gd name="T6" fmla="*/ 0 w 165"/>
              <a:gd name="T7" fmla="*/ 8 h 8"/>
              <a:gd name="T8" fmla="*/ 165 w 165"/>
              <a:gd name="T9" fmla="*/ 8 h 8"/>
              <a:gd name="T10" fmla="*/ 165 w 165"/>
              <a:gd name="T11" fmla="*/ 5 h 8"/>
              <a:gd name="T12" fmla="*/ 165 w 165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5" h="8">
                <a:moveTo>
                  <a:pt x="16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165" y="8"/>
                  <a:pt x="165" y="8"/>
                  <a:pt x="165" y="8"/>
                </a:cubicBezTo>
                <a:cubicBezTo>
                  <a:pt x="165" y="7"/>
                  <a:pt x="165" y="6"/>
                  <a:pt x="165" y="5"/>
                </a:cubicBezTo>
                <a:cubicBezTo>
                  <a:pt x="165" y="3"/>
                  <a:pt x="165" y="3"/>
                  <a:pt x="16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459C3255-6092-4814-9E42-C93316974798}"/>
              </a:ext>
            </a:extLst>
          </p:cNvPr>
          <p:cNvSpPr/>
          <p:nvPr/>
        </p:nvSpPr>
        <p:spPr bwMode="auto">
          <a:xfrm>
            <a:off x="4800505" y="3360799"/>
            <a:ext cx="1020862" cy="77633"/>
          </a:xfrm>
          <a:custGeom>
            <a:avLst/>
            <a:gdLst>
              <a:gd name="T0" fmla="*/ 165 w 165"/>
              <a:gd name="T1" fmla="*/ 0 h 8"/>
              <a:gd name="T2" fmla="*/ 0 w 165"/>
              <a:gd name="T3" fmla="*/ 0 h 8"/>
              <a:gd name="T4" fmla="*/ 0 w 165"/>
              <a:gd name="T5" fmla="*/ 5 h 8"/>
              <a:gd name="T6" fmla="*/ 0 w 165"/>
              <a:gd name="T7" fmla="*/ 8 h 8"/>
              <a:gd name="T8" fmla="*/ 165 w 165"/>
              <a:gd name="T9" fmla="*/ 8 h 8"/>
              <a:gd name="T10" fmla="*/ 165 w 165"/>
              <a:gd name="T11" fmla="*/ 5 h 8"/>
              <a:gd name="T12" fmla="*/ 165 w 165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5" h="8">
                <a:moveTo>
                  <a:pt x="16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165" y="8"/>
                  <a:pt x="165" y="8"/>
                  <a:pt x="165" y="8"/>
                </a:cubicBezTo>
                <a:cubicBezTo>
                  <a:pt x="165" y="7"/>
                  <a:pt x="165" y="6"/>
                  <a:pt x="165" y="5"/>
                </a:cubicBezTo>
                <a:cubicBezTo>
                  <a:pt x="165" y="3"/>
                  <a:pt x="165" y="3"/>
                  <a:pt x="16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9A18696-FFD6-423F-AF50-1AEADE2A6902}"/>
              </a:ext>
            </a:extLst>
          </p:cNvPr>
          <p:cNvSpPr/>
          <p:nvPr/>
        </p:nvSpPr>
        <p:spPr bwMode="auto">
          <a:xfrm>
            <a:off x="6312571" y="3360799"/>
            <a:ext cx="1020862" cy="77633"/>
          </a:xfrm>
          <a:custGeom>
            <a:avLst/>
            <a:gdLst>
              <a:gd name="T0" fmla="*/ 165 w 165"/>
              <a:gd name="T1" fmla="*/ 0 h 8"/>
              <a:gd name="T2" fmla="*/ 0 w 165"/>
              <a:gd name="T3" fmla="*/ 0 h 8"/>
              <a:gd name="T4" fmla="*/ 0 w 165"/>
              <a:gd name="T5" fmla="*/ 5 h 8"/>
              <a:gd name="T6" fmla="*/ 0 w 165"/>
              <a:gd name="T7" fmla="*/ 8 h 8"/>
              <a:gd name="T8" fmla="*/ 165 w 165"/>
              <a:gd name="T9" fmla="*/ 8 h 8"/>
              <a:gd name="T10" fmla="*/ 165 w 165"/>
              <a:gd name="T11" fmla="*/ 5 h 8"/>
              <a:gd name="T12" fmla="*/ 165 w 165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5" h="8">
                <a:moveTo>
                  <a:pt x="16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165" y="8"/>
                  <a:pt x="165" y="8"/>
                  <a:pt x="165" y="8"/>
                </a:cubicBezTo>
                <a:cubicBezTo>
                  <a:pt x="165" y="7"/>
                  <a:pt x="165" y="6"/>
                  <a:pt x="165" y="5"/>
                </a:cubicBezTo>
                <a:cubicBezTo>
                  <a:pt x="165" y="3"/>
                  <a:pt x="165" y="3"/>
                  <a:pt x="16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6D04A76-5439-4DC4-98AF-D3ADEEB12715}"/>
              </a:ext>
            </a:extLst>
          </p:cNvPr>
          <p:cNvSpPr/>
          <p:nvPr/>
        </p:nvSpPr>
        <p:spPr bwMode="auto">
          <a:xfrm>
            <a:off x="7824637" y="3360799"/>
            <a:ext cx="1020862" cy="77633"/>
          </a:xfrm>
          <a:custGeom>
            <a:avLst/>
            <a:gdLst>
              <a:gd name="T0" fmla="*/ 165 w 165"/>
              <a:gd name="T1" fmla="*/ 0 h 8"/>
              <a:gd name="T2" fmla="*/ 0 w 165"/>
              <a:gd name="T3" fmla="*/ 0 h 8"/>
              <a:gd name="T4" fmla="*/ 0 w 165"/>
              <a:gd name="T5" fmla="*/ 5 h 8"/>
              <a:gd name="T6" fmla="*/ 0 w 165"/>
              <a:gd name="T7" fmla="*/ 8 h 8"/>
              <a:gd name="T8" fmla="*/ 165 w 165"/>
              <a:gd name="T9" fmla="*/ 8 h 8"/>
              <a:gd name="T10" fmla="*/ 165 w 165"/>
              <a:gd name="T11" fmla="*/ 5 h 8"/>
              <a:gd name="T12" fmla="*/ 165 w 165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5" h="8">
                <a:moveTo>
                  <a:pt x="165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165" y="8"/>
                  <a:pt x="165" y="8"/>
                  <a:pt x="165" y="8"/>
                </a:cubicBezTo>
                <a:cubicBezTo>
                  <a:pt x="165" y="7"/>
                  <a:pt x="165" y="6"/>
                  <a:pt x="165" y="5"/>
                </a:cubicBezTo>
                <a:cubicBezTo>
                  <a:pt x="165" y="3"/>
                  <a:pt x="165" y="3"/>
                  <a:pt x="16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73" name="组合 72">
            <a:extLst>
              <a:ext uri="{FF2B5EF4-FFF2-40B4-BE49-F238E27FC236}">
                <a16:creationId xmlns:a16="http://schemas.microsoft.com/office/drawing/2014/main" id="{D1DEB5C2-C001-D3A1-597A-0CC6B5B1A26B}"/>
              </a:ext>
            </a:extLst>
          </p:cNvPr>
          <p:cNvGrpSpPr/>
          <p:nvPr/>
        </p:nvGrpSpPr>
        <p:grpSpPr>
          <a:xfrm>
            <a:off x="9534054" y="2697840"/>
            <a:ext cx="1890538" cy="3360952"/>
            <a:chOff x="9534054" y="2697840"/>
            <a:chExt cx="1890538" cy="3360952"/>
          </a:xfrm>
        </p:grpSpPr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71E17EF-FF03-4620-BA8E-26553FB66217}"/>
                </a:ext>
              </a:extLst>
            </p:cNvPr>
            <p:cNvSpPr/>
            <p:nvPr/>
          </p:nvSpPr>
          <p:spPr bwMode="auto">
            <a:xfrm>
              <a:off x="10282962" y="2697840"/>
              <a:ext cx="648445" cy="630179"/>
            </a:xfrm>
            <a:custGeom>
              <a:avLst/>
              <a:gdLst>
                <a:gd name="T0" fmla="*/ 1 w 68"/>
                <a:gd name="T1" fmla="*/ 32 h 66"/>
                <a:gd name="T2" fmla="*/ 36 w 68"/>
                <a:gd name="T3" fmla="*/ 1 h 66"/>
                <a:gd name="T4" fmla="*/ 67 w 68"/>
                <a:gd name="T5" fmla="*/ 36 h 66"/>
                <a:gd name="T6" fmla="*/ 40 w 68"/>
                <a:gd name="T7" fmla="*/ 66 h 66"/>
                <a:gd name="T8" fmla="*/ 28 w 68"/>
                <a:gd name="T9" fmla="*/ 66 h 66"/>
                <a:gd name="T10" fmla="*/ 1 w 68"/>
                <a:gd name="T11" fmla="*/ 3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66">
                  <a:moveTo>
                    <a:pt x="1" y="32"/>
                  </a:moveTo>
                  <a:cubicBezTo>
                    <a:pt x="2" y="14"/>
                    <a:pt x="18" y="0"/>
                    <a:pt x="36" y="1"/>
                  </a:cubicBezTo>
                  <a:cubicBezTo>
                    <a:pt x="54" y="2"/>
                    <a:pt x="68" y="18"/>
                    <a:pt x="67" y="36"/>
                  </a:cubicBezTo>
                  <a:cubicBezTo>
                    <a:pt x="66" y="51"/>
                    <a:pt x="54" y="63"/>
                    <a:pt x="40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12" y="63"/>
                    <a:pt x="0" y="48"/>
                    <a:pt x="1" y="3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C43B020B-11E3-46BC-9E87-8A9FC4C1F1BF}"/>
                </a:ext>
              </a:extLst>
            </p:cNvPr>
            <p:cNvSpPr/>
            <p:nvPr/>
          </p:nvSpPr>
          <p:spPr bwMode="auto">
            <a:xfrm>
              <a:off x="10579786" y="4971963"/>
              <a:ext cx="844806" cy="1086829"/>
            </a:xfrm>
            <a:custGeom>
              <a:avLst/>
              <a:gdLst>
                <a:gd name="T0" fmla="*/ 15 w 89"/>
                <a:gd name="T1" fmla="*/ 4 h 114"/>
                <a:gd name="T2" fmla="*/ 27 w 89"/>
                <a:gd name="T3" fmla="*/ 0 h 114"/>
                <a:gd name="T4" fmla="*/ 42 w 89"/>
                <a:gd name="T5" fmla="*/ 48 h 114"/>
                <a:gd name="T6" fmla="*/ 82 w 89"/>
                <a:gd name="T7" fmla="*/ 83 h 114"/>
                <a:gd name="T8" fmla="*/ 83 w 89"/>
                <a:gd name="T9" fmla="*/ 104 h 114"/>
                <a:gd name="T10" fmla="*/ 80 w 89"/>
                <a:gd name="T11" fmla="*/ 108 h 114"/>
                <a:gd name="T12" fmla="*/ 60 w 89"/>
                <a:gd name="T13" fmla="*/ 108 h 114"/>
                <a:gd name="T14" fmla="*/ 15 w 89"/>
                <a:gd name="T15" fmla="*/ 71 h 114"/>
                <a:gd name="T16" fmla="*/ 10 w 89"/>
                <a:gd name="T17" fmla="*/ 60 h 114"/>
                <a:gd name="T18" fmla="*/ 9 w 89"/>
                <a:gd name="T19" fmla="*/ 58 h 114"/>
                <a:gd name="T20" fmla="*/ 0 w 89"/>
                <a:gd name="T21" fmla="*/ 27 h 114"/>
                <a:gd name="T22" fmla="*/ 13 w 89"/>
                <a:gd name="T23" fmla="*/ 5 h 114"/>
                <a:gd name="T24" fmla="*/ 15 w 89"/>
                <a:gd name="T2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14">
                  <a:moveTo>
                    <a:pt x="15" y="4"/>
                  </a:moveTo>
                  <a:cubicBezTo>
                    <a:pt x="19" y="3"/>
                    <a:pt x="23" y="2"/>
                    <a:pt x="27" y="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8" y="89"/>
                    <a:pt x="89" y="99"/>
                    <a:pt x="83" y="104"/>
                  </a:cubicBezTo>
                  <a:cubicBezTo>
                    <a:pt x="80" y="108"/>
                    <a:pt x="80" y="108"/>
                    <a:pt x="80" y="108"/>
                  </a:cubicBezTo>
                  <a:cubicBezTo>
                    <a:pt x="74" y="114"/>
                    <a:pt x="65" y="114"/>
                    <a:pt x="60" y="108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2" y="68"/>
                    <a:pt x="10" y="64"/>
                    <a:pt x="10" y="60"/>
                  </a:cubicBezTo>
                  <a:cubicBezTo>
                    <a:pt x="10" y="60"/>
                    <a:pt x="9" y="59"/>
                    <a:pt x="9" y="5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3" y="5"/>
                    <a:pt x="13" y="5"/>
                    <a:pt x="13" y="5"/>
                  </a:cubicBezTo>
                  <a:lnTo>
                    <a:pt x="15" y="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32207DDA-29D9-4620-A75E-492EF491BED0}"/>
                </a:ext>
              </a:extLst>
            </p:cNvPr>
            <p:cNvSpPr/>
            <p:nvPr/>
          </p:nvSpPr>
          <p:spPr bwMode="auto">
            <a:xfrm>
              <a:off x="10191631" y="3556344"/>
              <a:ext cx="63931" cy="164395"/>
            </a:xfrm>
            <a:custGeom>
              <a:avLst/>
              <a:gdLst>
                <a:gd name="T0" fmla="*/ 0 w 7"/>
                <a:gd name="T1" fmla="*/ 1 h 17"/>
                <a:gd name="T2" fmla="*/ 7 w 7"/>
                <a:gd name="T3" fmla="*/ 0 h 17"/>
                <a:gd name="T4" fmla="*/ 6 w 7"/>
                <a:gd name="T5" fmla="*/ 8 h 17"/>
                <a:gd name="T6" fmla="*/ 6 w 7"/>
                <a:gd name="T7" fmla="*/ 17 h 17"/>
                <a:gd name="T8" fmla="*/ 0 w 7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7">
                  <a:moveTo>
                    <a:pt x="0" y="1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6" y="5"/>
                    <a:pt x="6" y="8"/>
                  </a:cubicBezTo>
                  <a:cubicBezTo>
                    <a:pt x="6" y="17"/>
                    <a:pt x="6" y="17"/>
                    <a:pt x="6" y="17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86C2F175-F7BD-47BC-9526-42DA6A52F69C}"/>
                </a:ext>
              </a:extLst>
            </p:cNvPr>
            <p:cNvSpPr/>
            <p:nvPr/>
          </p:nvSpPr>
          <p:spPr bwMode="auto">
            <a:xfrm>
              <a:off x="9593419" y="3474147"/>
              <a:ext cx="264857" cy="273991"/>
            </a:xfrm>
            <a:custGeom>
              <a:avLst/>
              <a:gdLst>
                <a:gd name="T0" fmla="*/ 28 w 28"/>
                <a:gd name="T1" fmla="*/ 29 h 29"/>
                <a:gd name="T2" fmla="*/ 0 w 28"/>
                <a:gd name="T3" fmla="*/ 0 h 29"/>
                <a:gd name="T4" fmla="*/ 26 w 28"/>
                <a:gd name="T5" fmla="*/ 0 h 29"/>
                <a:gd name="T6" fmla="*/ 25 w 28"/>
                <a:gd name="T7" fmla="*/ 2 h 29"/>
                <a:gd name="T8" fmla="*/ 24 w 28"/>
                <a:gd name="T9" fmla="*/ 17 h 29"/>
                <a:gd name="T10" fmla="*/ 28 w 2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9">
                  <a:moveTo>
                    <a:pt x="28" y="2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5" y="1"/>
                    <a:pt x="25" y="2"/>
                  </a:cubicBezTo>
                  <a:cubicBezTo>
                    <a:pt x="23" y="7"/>
                    <a:pt x="23" y="12"/>
                    <a:pt x="24" y="17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85C0864-D934-4AE0-A0EE-953B3024379E}"/>
                </a:ext>
              </a:extLst>
            </p:cNvPr>
            <p:cNvSpPr/>
            <p:nvPr/>
          </p:nvSpPr>
          <p:spPr bwMode="auto">
            <a:xfrm>
              <a:off x="9534054" y="3204725"/>
              <a:ext cx="273991" cy="123297"/>
            </a:xfrm>
            <a:custGeom>
              <a:avLst/>
              <a:gdLst>
                <a:gd name="T0" fmla="*/ 4 w 29"/>
                <a:gd name="T1" fmla="*/ 5 h 13"/>
                <a:gd name="T2" fmla="*/ 22 w 29"/>
                <a:gd name="T3" fmla="*/ 6 h 13"/>
                <a:gd name="T4" fmla="*/ 29 w 29"/>
                <a:gd name="T5" fmla="*/ 13 h 13"/>
                <a:gd name="T6" fmla="*/ 0 w 29"/>
                <a:gd name="T7" fmla="*/ 13 h 13"/>
                <a:gd name="T8" fmla="*/ 4 w 29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4" y="5"/>
                  </a:moveTo>
                  <a:cubicBezTo>
                    <a:pt x="10" y="0"/>
                    <a:pt x="18" y="0"/>
                    <a:pt x="22" y="6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1" y="7"/>
                    <a:pt x="4" y="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B605C8E0-ED71-401B-A439-CECA0E076AC9}"/>
                </a:ext>
              </a:extLst>
            </p:cNvPr>
            <p:cNvSpPr/>
            <p:nvPr/>
          </p:nvSpPr>
          <p:spPr bwMode="auto">
            <a:xfrm>
              <a:off x="10077470" y="3460449"/>
              <a:ext cx="908737" cy="2589213"/>
            </a:xfrm>
            <a:custGeom>
              <a:avLst/>
              <a:gdLst>
                <a:gd name="T0" fmla="*/ 88 w 96"/>
                <a:gd name="T1" fmla="*/ 0 h 271"/>
                <a:gd name="T2" fmla="*/ 95 w 96"/>
                <a:gd name="T3" fmla="*/ 20 h 271"/>
                <a:gd name="T4" fmla="*/ 93 w 96"/>
                <a:gd name="T5" fmla="*/ 127 h 271"/>
                <a:gd name="T6" fmla="*/ 64 w 96"/>
                <a:gd name="T7" fmla="*/ 155 h 271"/>
                <a:gd name="T8" fmla="*/ 64 w 96"/>
                <a:gd name="T9" fmla="*/ 155 h 271"/>
                <a:gd name="T10" fmla="*/ 35 w 96"/>
                <a:gd name="T11" fmla="*/ 202 h 271"/>
                <a:gd name="T12" fmla="*/ 35 w 96"/>
                <a:gd name="T13" fmla="*/ 256 h 271"/>
                <a:gd name="T14" fmla="*/ 19 w 96"/>
                <a:gd name="T15" fmla="*/ 271 h 271"/>
                <a:gd name="T16" fmla="*/ 15 w 96"/>
                <a:gd name="T17" fmla="*/ 271 h 271"/>
                <a:gd name="T18" fmla="*/ 0 w 96"/>
                <a:gd name="T19" fmla="*/ 256 h 271"/>
                <a:gd name="T20" fmla="*/ 0 w 96"/>
                <a:gd name="T21" fmla="*/ 197 h 271"/>
                <a:gd name="T22" fmla="*/ 3 w 96"/>
                <a:gd name="T23" fmla="*/ 188 h 271"/>
                <a:gd name="T24" fmla="*/ 4 w 96"/>
                <a:gd name="T25" fmla="*/ 185 h 271"/>
                <a:gd name="T26" fmla="*/ 29 w 96"/>
                <a:gd name="T27" fmla="*/ 145 h 271"/>
                <a:gd name="T28" fmla="*/ 22 w 96"/>
                <a:gd name="T29" fmla="*/ 126 h 271"/>
                <a:gd name="T30" fmla="*/ 23 w 96"/>
                <a:gd name="T31" fmla="*/ 76 h 271"/>
                <a:gd name="T32" fmla="*/ 75 w 96"/>
                <a:gd name="T33" fmla="*/ 34 h 271"/>
                <a:gd name="T34" fmla="*/ 76 w 96"/>
                <a:gd name="T35" fmla="*/ 6 h 271"/>
                <a:gd name="T36" fmla="*/ 71 w 96"/>
                <a:gd name="T37" fmla="*/ 1 h 271"/>
                <a:gd name="T38" fmla="*/ 85 w 96"/>
                <a:gd name="T39" fmla="*/ 1 h 271"/>
                <a:gd name="T40" fmla="*/ 88 w 96"/>
                <a:gd name="T4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271">
                  <a:moveTo>
                    <a:pt x="88" y="0"/>
                  </a:moveTo>
                  <a:cubicBezTo>
                    <a:pt x="93" y="5"/>
                    <a:pt x="96" y="12"/>
                    <a:pt x="95" y="20"/>
                  </a:cubicBezTo>
                  <a:cubicBezTo>
                    <a:pt x="93" y="127"/>
                    <a:pt x="93" y="127"/>
                    <a:pt x="93" y="127"/>
                  </a:cubicBezTo>
                  <a:cubicBezTo>
                    <a:pt x="93" y="143"/>
                    <a:pt x="80" y="155"/>
                    <a:pt x="64" y="155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35" y="202"/>
                    <a:pt x="35" y="202"/>
                    <a:pt x="35" y="202"/>
                  </a:cubicBezTo>
                  <a:cubicBezTo>
                    <a:pt x="35" y="256"/>
                    <a:pt x="35" y="256"/>
                    <a:pt x="35" y="256"/>
                  </a:cubicBezTo>
                  <a:cubicBezTo>
                    <a:pt x="35" y="264"/>
                    <a:pt x="28" y="271"/>
                    <a:pt x="19" y="271"/>
                  </a:cubicBezTo>
                  <a:cubicBezTo>
                    <a:pt x="15" y="271"/>
                    <a:pt x="15" y="271"/>
                    <a:pt x="15" y="271"/>
                  </a:cubicBezTo>
                  <a:cubicBezTo>
                    <a:pt x="7" y="271"/>
                    <a:pt x="0" y="264"/>
                    <a:pt x="0" y="256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194"/>
                    <a:pt x="1" y="190"/>
                    <a:pt x="3" y="188"/>
                  </a:cubicBezTo>
                  <a:cubicBezTo>
                    <a:pt x="4" y="187"/>
                    <a:pt x="4" y="186"/>
                    <a:pt x="4" y="185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4" y="140"/>
                    <a:pt x="22" y="134"/>
                    <a:pt x="22" y="12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83" y="27"/>
                    <a:pt x="83" y="15"/>
                    <a:pt x="76" y="6"/>
                  </a:cubicBezTo>
                  <a:cubicBezTo>
                    <a:pt x="75" y="4"/>
                    <a:pt x="73" y="2"/>
                    <a:pt x="71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6" y="1"/>
                    <a:pt x="87" y="1"/>
                    <a:pt x="8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DF9BD61-B20B-4C57-A4B4-2163C92915F3}"/>
                </a:ext>
              </a:extLst>
            </p:cNvPr>
            <p:cNvSpPr/>
            <p:nvPr/>
          </p:nvSpPr>
          <p:spPr bwMode="auto">
            <a:xfrm>
              <a:off x="10305795" y="3474147"/>
              <a:ext cx="273991" cy="219193"/>
            </a:xfrm>
            <a:custGeom>
              <a:avLst/>
              <a:gdLst>
                <a:gd name="T0" fmla="*/ 25 w 29"/>
                <a:gd name="T1" fmla="*/ 2 h 23"/>
                <a:gd name="T2" fmla="*/ 0 w 29"/>
                <a:gd name="T3" fmla="*/ 23 h 23"/>
                <a:gd name="T4" fmla="*/ 0 w 29"/>
                <a:gd name="T5" fmla="*/ 17 h 23"/>
                <a:gd name="T6" fmla="*/ 7 w 29"/>
                <a:gd name="T7" fmla="*/ 0 h 23"/>
                <a:gd name="T8" fmla="*/ 29 w 29"/>
                <a:gd name="T9" fmla="*/ 0 h 23"/>
                <a:gd name="T10" fmla="*/ 25 w 29"/>
                <a:gd name="T1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3">
                  <a:moveTo>
                    <a:pt x="25" y="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0"/>
                    <a:pt x="3" y="4"/>
                    <a:pt x="7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7" y="1"/>
                    <a:pt x="26" y="1"/>
                    <a:pt x="25" y="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D9E9A885-F255-4BAC-AC58-091CD38A065A}"/>
                </a:ext>
              </a:extLst>
            </p:cNvPr>
            <p:cNvSpPr/>
            <p:nvPr/>
          </p:nvSpPr>
          <p:spPr bwMode="auto">
            <a:xfrm>
              <a:off x="9858278" y="3433049"/>
              <a:ext cx="940702" cy="744343"/>
            </a:xfrm>
            <a:custGeom>
              <a:avLst/>
              <a:gdLst>
                <a:gd name="T0" fmla="*/ 8 w 99"/>
                <a:gd name="T1" fmla="*/ 4 h 78"/>
                <a:gd name="T2" fmla="*/ 11 w 99"/>
                <a:gd name="T3" fmla="*/ 2 h 78"/>
                <a:gd name="T4" fmla="*/ 23 w 99"/>
                <a:gd name="T5" fmla="*/ 4 h 78"/>
                <a:gd name="T6" fmla="*/ 28 w 99"/>
                <a:gd name="T7" fmla="*/ 11 h 78"/>
                <a:gd name="T8" fmla="*/ 38 w 99"/>
                <a:gd name="T9" fmla="*/ 42 h 78"/>
                <a:gd name="T10" fmla="*/ 75 w 99"/>
                <a:gd name="T11" fmla="*/ 11 h 78"/>
                <a:gd name="T12" fmla="*/ 94 w 99"/>
                <a:gd name="T13" fmla="*/ 13 h 78"/>
                <a:gd name="T14" fmla="*/ 92 w 99"/>
                <a:gd name="T15" fmla="*/ 33 h 78"/>
                <a:gd name="T16" fmla="*/ 41 w 99"/>
                <a:gd name="T17" fmla="*/ 75 h 78"/>
                <a:gd name="T18" fmla="*/ 31 w 99"/>
                <a:gd name="T19" fmla="*/ 78 h 78"/>
                <a:gd name="T20" fmla="*/ 19 w 99"/>
                <a:gd name="T21" fmla="*/ 69 h 78"/>
                <a:gd name="T22" fmla="*/ 2 w 99"/>
                <a:gd name="T23" fmla="*/ 19 h 78"/>
                <a:gd name="T24" fmla="*/ 8 w 99"/>
                <a:gd name="T25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78">
                  <a:moveTo>
                    <a:pt x="8" y="4"/>
                  </a:moveTo>
                  <a:cubicBezTo>
                    <a:pt x="8" y="3"/>
                    <a:pt x="9" y="2"/>
                    <a:pt x="11" y="2"/>
                  </a:cubicBezTo>
                  <a:cubicBezTo>
                    <a:pt x="15" y="0"/>
                    <a:pt x="19" y="1"/>
                    <a:pt x="23" y="4"/>
                  </a:cubicBezTo>
                  <a:cubicBezTo>
                    <a:pt x="25" y="6"/>
                    <a:pt x="27" y="8"/>
                    <a:pt x="28" y="11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80" y="6"/>
                    <a:pt x="89" y="7"/>
                    <a:pt x="94" y="13"/>
                  </a:cubicBezTo>
                  <a:cubicBezTo>
                    <a:pt x="99" y="19"/>
                    <a:pt x="98" y="28"/>
                    <a:pt x="92" y="33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37" y="77"/>
                    <a:pt x="34" y="78"/>
                    <a:pt x="31" y="78"/>
                  </a:cubicBezTo>
                  <a:cubicBezTo>
                    <a:pt x="25" y="78"/>
                    <a:pt x="20" y="75"/>
                    <a:pt x="19" y="6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14"/>
                    <a:pt x="2" y="7"/>
                    <a:pt x="8" y="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96570EB7-9493-AFDF-870F-28E1B0F3CC58}"/>
              </a:ext>
            </a:extLst>
          </p:cNvPr>
          <p:cNvGrpSpPr/>
          <p:nvPr/>
        </p:nvGrpSpPr>
        <p:grpSpPr>
          <a:xfrm>
            <a:off x="839416" y="2697840"/>
            <a:ext cx="2032099" cy="3360952"/>
            <a:chOff x="839416" y="2697840"/>
            <a:chExt cx="2032099" cy="3360952"/>
          </a:xfrm>
        </p:grpSpPr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73BD0C91-E337-4990-9B64-6F85F30D1813}"/>
                </a:ext>
              </a:extLst>
            </p:cNvPr>
            <p:cNvSpPr/>
            <p:nvPr/>
          </p:nvSpPr>
          <p:spPr bwMode="auto">
            <a:xfrm>
              <a:off x="1332599" y="2697840"/>
              <a:ext cx="634747" cy="630179"/>
            </a:xfrm>
            <a:custGeom>
              <a:avLst/>
              <a:gdLst>
                <a:gd name="T0" fmla="*/ 67 w 67"/>
                <a:gd name="T1" fmla="*/ 32 h 66"/>
                <a:gd name="T2" fmla="*/ 32 w 67"/>
                <a:gd name="T3" fmla="*/ 1 h 66"/>
                <a:gd name="T4" fmla="*/ 2 w 67"/>
                <a:gd name="T5" fmla="*/ 36 h 66"/>
                <a:gd name="T6" fmla="*/ 28 w 67"/>
                <a:gd name="T7" fmla="*/ 66 h 66"/>
                <a:gd name="T8" fmla="*/ 40 w 67"/>
                <a:gd name="T9" fmla="*/ 66 h 66"/>
                <a:gd name="T10" fmla="*/ 67 w 67"/>
                <a:gd name="T11" fmla="*/ 3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66">
                  <a:moveTo>
                    <a:pt x="67" y="32"/>
                  </a:moveTo>
                  <a:cubicBezTo>
                    <a:pt x="65" y="14"/>
                    <a:pt x="50" y="0"/>
                    <a:pt x="32" y="1"/>
                  </a:cubicBezTo>
                  <a:cubicBezTo>
                    <a:pt x="13" y="2"/>
                    <a:pt x="0" y="18"/>
                    <a:pt x="2" y="36"/>
                  </a:cubicBezTo>
                  <a:cubicBezTo>
                    <a:pt x="3" y="51"/>
                    <a:pt x="13" y="63"/>
                    <a:pt x="28" y="66"/>
                  </a:cubicBezTo>
                  <a:cubicBezTo>
                    <a:pt x="40" y="66"/>
                    <a:pt x="40" y="66"/>
                    <a:pt x="40" y="66"/>
                  </a:cubicBezTo>
                  <a:cubicBezTo>
                    <a:pt x="56" y="63"/>
                    <a:pt x="67" y="48"/>
                    <a:pt x="67" y="3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8595225-D0F2-4A85-8F16-DD851B2E64D1}"/>
                </a:ext>
              </a:extLst>
            </p:cNvPr>
            <p:cNvSpPr/>
            <p:nvPr/>
          </p:nvSpPr>
          <p:spPr bwMode="auto">
            <a:xfrm>
              <a:off x="839416" y="4971963"/>
              <a:ext cx="844807" cy="1086829"/>
            </a:xfrm>
            <a:custGeom>
              <a:avLst/>
              <a:gdLst>
                <a:gd name="T0" fmla="*/ 75 w 89"/>
                <a:gd name="T1" fmla="*/ 4 h 114"/>
                <a:gd name="T2" fmla="*/ 62 w 89"/>
                <a:gd name="T3" fmla="*/ 0 h 114"/>
                <a:gd name="T4" fmla="*/ 48 w 89"/>
                <a:gd name="T5" fmla="*/ 48 h 114"/>
                <a:gd name="T6" fmla="*/ 7 w 89"/>
                <a:gd name="T7" fmla="*/ 83 h 114"/>
                <a:gd name="T8" fmla="*/ 6 w 89"/>
                <a:gd name="T9" fmla="*/ 104 h 114"/>
                <a:gd name="T10" fmla="*/ 9 w 89"/>
                <a:gd name="T11" fmla="*/ 108 h 114"/>
                <a:gd name="T12" fmla="*/ 30 w 89"/>
                <a:gd name="T13" fmla="*/ 108 h 114"/>
                <a:gd name="T14" fmla="*/ 75 w 89"/>
                <a:gd name="T15" fmla="*/ 71 h 114"/>
                <a:gd name="T16" fmla="*/ 80 w 89"/>
                <a:gd name="T17" fmla="*/ 60 h 114"/>
                <a:gd name="T18" fmla="*/ 80 w 89"/>
                <a:gd name="T19" fmla="*/ 58 h 114"/>
                <a:gd name="T20" fmla="*/ 89 w 89"/>
                <a:gd name="T21" fmla="*/ 27 h 114"/>
                <a:gd name="T22" fmla="*/ 75 w 89"/>
                <a:gd name="T23" fmla="*/ 5 h 114"/>
                <a:gd name="T24" fmla="*/ 75 w 89"/>
                <a:gd name="T25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14">
                  <a:moveTo>
                    <a:pt x="75" y="4"/>
                  </a:moveTo>
                  <a:cubicBezTo>
                    <a:pt x="70" y="3"/>
                    <a:pt x="65" y="2"/>
                    <a:pt x="62" y="0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7" y="83"/>
                    <a:pt x="7" y="83"/>
                    <a:pt x="7" y="83"/>
                  </a:cubicBezTo>
                  <a:cubicBezTo>
                    <a:pt x="1" y="89"/>
                    <a:pt x="0" y="99"/>
                    <a:pt x="6" y="104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13" y="114"/>
                    <a:pt x="24" y="114"/>
                    <a:pt x="30" y="108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7" y="68"/>
                    <a:pt x="78" y="64"/>
                    <a:pt x="80" y="60"/>
                  </a:cubicBezTo>
                  <a:cubicBezTo>
                    <a:pt x="80" y="60"/>
                    <a:pt x="80" y="59"/>
                    <a:pt x="80" y="58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75" y="5"/>
                    <a:pt x="75" y="5"/>
                    <a:pt x="75" y="5"/>
                  </a:cubicBezTo>
                  <a:lnTo>
                    <a:pt x="75" y="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8EAA171F-3811-48D3-B13E-A00AC74C8AD9}"/>
                </a:ext>
              </a:extLst>
            </p:cNvPr>
            <p:cNvSpPr/>
            <p:nvPr/>
          </p:nvSpPr>
          <p:spPr bwMode="auto">
            <a:xfrm>
              <a:off x="2008443" y="3556344"/>
              <a:ext cx="54798" cy="164395"/>
            </a:xfrm>
            <a:custGeom>
              <a:avLst/>
              <a:gdLst>
                <a:gd name="T0" fmla="*/ 6 w 6"/>
                <a:gd name="T1" fmla="*/ 1 h 17"/>
                <a:gd name="T2" fmla="*/ 0 w 6"/>
                <a:gd name="T3" fmla="*/ 0 h 17"/>
                <a:gd name="T4" fmla="*/ 0 w 6"/>
                <a:gd name="T5" fmla="*/ 8 h 17"/>
                <a:gd name="T6" fmla="*/ 1 w 6"/>
                <a:gd name="T7" fmla="*/ 17 h 17"/>
                <a:gd name="T8" fmla="*/ 6 w 6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7">
                  <a:moveTo>
                    <a:pt x="6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5"/>
                    <a:pt x="0" y="8"/>
                  </a:cubicBezTo>
                  <a:cubicBezTo>
                    <a:pt x="1" y="17"/>
                    <a:pt x="1" y="17"/>
                    <a:pt x="1" y="17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C80C74C2-FC79-46E4-A202-B65525C9155F}"/>
                </a:ext>
              </a:extLst>
            </p:cNvPr>
            <p:cNvSpPr/>
            <p:nvPr/>
          </p:nvSpPr>
          <p:spPr bwMode="auto">
            <a:xfrm>
              <a:off x="2405731" y="3474147"/>
              <a:ext cx="264857" cy="273991"/>
            </a:xfrm>
            <a:custGeom>
              <a:avLst/>
              <a:gdLst>
                <a:gd name="T0" fmla="*/ 0 w 28"/>
                <a:gd name="T1" fmla="*/ 29 h 29"/>
                <a:gd name="T2" fmla="*/ 28 w 28"/>
                <a:gd name="T3" fmla="*/ 0 h 29"/>
                <a:gd name="T4" fmla="*/ 2 w 28"/>
                <a:gd name="T5" fmla="*/ 0 h 29"/>
                <a:gd name="T6" fmla="*/ 2 w 28"/>
                <a:gd name="T7" fmla="*/ 2 h 29"/>
                <a:gd name="T8" fmla="*/ 4 w 28"/>
                <a:gd name="T9" fmla="*/ 17 h 29"/>
                <a:gd name="T10" fmla="*/ 0 w 28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9">
                  <a:moveTo>
                    <a:pt x="0" y="29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5" y="7"/>
                    <a:pt x="6" y="12"/>
                    <a:pt x="4" y="17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BF172811-87C0-4C19-AE1A-F1BEB51276E6}"/>
                </a:ext>
              </a:extLst>
            </p:cNvPr>
            <p:cNvSpPr/>
            <p:nvPr/>
          </p:nvSpPr>
          <p:spPr bwMode="auto">
            <a:xfrm>
              <a:off x="2455961" y="3204725"/>
              <a:ext cx="273991" cy="123297"/>
            </a:xfrm>
            <a:custGeom>
              <a:avLst/>
              <a:gdLst>
                <a:gd name="T0" fmla="*/ 25 w 29"/>
                <a:gd name="T1" fmla="*/ 5 h 13"/>
                <a:gd name="T2" fmla="*/ 6 w 29"/>
                <a:gd name="T3" fmla="*/ 6 h 13"/>
                <a:gd name="T4" fmla="*/ 0 w 29"/>
                <a:gd name="T5" fmla="*/ 13 h 13"/>
                <a:gd name="T6" fmla="*/ 29 w 29"/>
                <a:gd name="T7" fmla="*/ 13 h 13"/>
                <a:gd name="T8" fmla="*/ 25 w 29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3">
                  <a:moveTo>
                    <a:pt x="25" y="5"/>
                  </a:moveTo>
                  <a:cubicBezTo>
                    <a:pt x="19" y="0"/>
                    <a:pt x="11" y="0"/>
                    <a:pt x="6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0"/>
                    <a:pt x="27" y="7"/>
                    <a:pt x="25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25897FEA-6DE7-4B8B-8833-B3E6161D3A0D}"/>
                </a:ext>
              </a:extLst>
            </p:cNvPr>
            <p:cNvSpPr/>
            <p:nvPr/>
          </p:nvSpPr>
          <p:spPr bwMode="auto">
            <a:xfrm>
              <a:off x="1277801" y="3460449"/>
              <a:ext cx="908738" cy="2589213"/>
            </a:xfrm>
            <a:custGeom>
              <a:avLst/>
              <a:gdLst>
                <a:gd name="T0" fmla="*/ 8 w 96"/>
                <a:gd name="T1" fmla="*/ 0 h 271"/>
                <a:gd name="T2" fmla="*/ 0 w 96"/>
                <a:gd name="T3" fmla="*/ 20 h 271"/>
                <a:gd name="T4" fmla="*/ 3 w 96"/>
                <a:gd name="T5" fmla="*/ 127 h 271"/>
                <a:gd name="T6" fmla="*/ 32 w 96"/>
                <a:gd name="T7" fmla="*/ 155 h 271"/>
                <a:gd name="T8" fmla="*/ 32 w 96"/>
                <a:gd name="T9" fmla="*/ 155 h 271"/>
                <a:gd name="T10" fmla="*/ 61 w 96"/>
                <a:gd name="T11" fmla="*/ 202 h 271"/>
                <a:gd name="T12" fmla="*/ 61 w 96"/>
                <a:gd name="T13" fmla="*/ 256 h 271"/>
                <a:gd name="T14" fmla="*/ 77 w 96"/>
                <a:gd name="T15" fmla="*/ 271 h 271"/>
                <a:gd name="T16" fmla="*/ 81 w 96"/>
                <a:gd name="T17" fmla="*/ 271 h 271"/>
                <a:gd name="T18" fmla="*/ 96 w 96"/>
                <a:gd name="T19" fmla="*/ 256 h 271"/>
                <a:gd name="T20" fmla="*/ 96 w 96"/>
                <a:gd name="T21" fmla="*/ 197 h 271"/>
                <a:gd name="T22" fmla="*/ 93 w 96"/>
                <a:gd name="T23" fmla="*/ 188 h 271"/>
                <a:gd name="T24" fmla="*/ 92 w 96"/>
                <a:gd name="T25" fmla="*/ 185 h 271"/>
                <a:gd name="T26" fmla="*/ 67 w 96"/>
                <a:gd name="T27" fmla="*/ 145 h 271"/>
                <a:gd name="T28" fmla="*/ 74 w 96"/>
                <a:gd name="T29" fmla="*/ 126 h 271"/>
                <a:gd name="T30" fmla="*/ 73 w 96"/>
                <a:gd name="T31" fmla="*/ 76 h 271"/>
                <a:gd name="T32" fmla="*/ 22 w 96"/>
                <a:gd name="T33" fmla="*/ 34 h 271"/>
                <a:gd name="T34" fmla="*/ 19 w 96"/>
                <a:gd name="T35" fmla="*/ 6 h 271"/>
                <a:gd name="T36" fmla="*/ 25 w 96"/>
                <a:gd name="T37" fmla="*/ 1 h 271"/>
                <a:gd name="T38" fmla="*/ 11 w 96"/>
                <a:gd name="T39" fmla="*/ 1 h 271"/>
                <a:gd name="T40" fmla="*/ 8 w 96"/>
                <a:gd name="T41" fmla="*/ 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271">
                  <a:moveTo>
                    <a:pt x="8" y="0"/>
                  </a:moveTo>
                  <a:cubicBezTo>
                    <a:pt x="3" y="5"/>
                    <a:pt x="0" y="12"/>
                    <a:pt x="0" y="20"/>
                  </a:cubicBezTo>
                  <a:cubicBezTo>
                    <a:pt x="3" y="127"/>
                    <a:pt x="3" y="127"/>
                    <a:pt x="3" y="127"/>
                  </a:cubicBezTo>
                  <a:cubicBezTo>
                    <a:pt x="3" y="143"/>
                    <a:pt x="16" y="155"/>
                    <a:pt x="32" y="155"/>
                  </a:cubicBezTo>
                  <a:cubicBezTo>
                    <a:pt x="32" y="155"/>
                    <a:pt x="32" y="155"/>
                    <a:pt x="32" y="155"/>
                  </a:cubicBezTo>
                  <a:cubicBezTo>
                    <a:pt x="61" y="202"/>
                    <a:pt x="61" y="202"/>
                    <a:pt x="61" y="202"/>
                  </a:cubicBezTo>
                  <a:cubicBezTo>
                    <a:pt x="61" y="256"/>
                    <a:pt x="61" y="256"/>
                    <a:pt x="61" y="256"/>
                  </a:cubicBezTo>
                  <a:cubicBezTo>
                    <a:pt x="61" y="264"/>
                    <a:pt x="68" y="271"/>
                    <a:pt x="77" y="271"/>
                  </a:cubicBezTo>
                  <a:cubicBezTo>
                    <a:pt x="81" y="271"/>
                    <a:pt x="81" y="271"/>
                    <a:pt x="81" y="271"/>
                  </a:cubicBezTo>
                  <a:cubicBezTo>
                    <a:pt x="89" y="271"/>
                    <a:pt x="96" y="264"/>
                    <a:pt x="96" y="256"/>
                  </a:cubicBezTo>
                  <a:cubicBezTo>
                    <a:pt x="96" y="197"/>
                    <a:pt x="96" y="197"/>
                    <a:pt x="96" y="197"/>
                  </a:cubicBezTo>
                  <a:cubicBezTo>
                    <a:pt x="96" y="194"/>
                    <a:pt x="95" y="190"/>
                    <a:pt x="93" y="188"/>
                  </a:cubicBezTo>
                  <a:cubicBezTo>
                    <a:pt x="93" y="188"/>
                    <a:pt x="93" y="186"/>
                    <a:pt x="92" y="185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1" y="140"/>
                    <a:pt x="74" y="134"/>
                    <a:pt x="74" y="12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13" y="27"/>
                    <a:pt x="12" y="15"/>
                    <a:pt x="19" y="6"/>
                  </a:cubicBezTo>
                  <a:cubicBezTo>
                    <a:pt x="20" y="4"/>
                    <a:pt x="23" y="2"/>
                    <a:pt x="25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9" y="1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F3122C25-9315-455E-9C6D-B9441B8E283D}"/>
                </a:ext>
              </a:extLst>
            </p:cNvPr>
            <p:cNvSpPr/>
            <p:nvPr/>
          </p:nvSpPr>
          <p:spPr bwMode="auto">
            <a:xfrm>
              <a:off x="1684223" y="3474147"/>
              <a:ext cx="264857" cy="219193"/>
            </a:xfrm>
            <a:custGeom>
              <a:avLst/>
              <a:gdLst>
                <a:gd name="T0" fmla="*/ 4 w 28"/>
                <a:gd name="T1" fmla="*/ 2 h 23"/>
                <a:gd name="T2" fmla="*/ 28 w 28"/>
                <a:gd name="T3" fmla="*/ 23 h 23"/>
                <a:gd name="T4" fmla="*/ 28 w 28"/>
                <a:gd name="T5" fmla="*/ 17 h 23"/>
                <a:gd name="T6" fmla="*/ 22 w 28"/>
                <a:gd name="T7" fmla="*/ 0 h 23"/>
                <a:gd name="T8" fmla="*/ 0 w 28"/>
                <a:gd name="T9" fmla="*/ 0 h 23"/>
                <a:gd name="T10" fmla="*/ 4 w 28"/>
                <a:gd name="T1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3">
                  <a:moveTo>
                    <a:pt x="4" y="2"/>
                  </a:moveTo>
                  <a:cubicBezTo>
                    <a:pt x="28" y="23"/>
                    <a:pt x="28" y="23"/>
                    <a:pt x="28" y="23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0"/>
                    <a:pt x="25" y="4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3" y="1"/>
                    <a:pt x="4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1793D703-355C-46A3-BCC7-366BBC25289D}"/>
                </a:ext>
              </a:extLst>
            </p:cNvPr>
            <p:cNvSpPr/>
            <p:nvPr/>
          </p:nvSpPr>
          <p:spPr bwMode="auto">
            <a:xfrm>
              <a:off x="1465030" y="3433049"/>
              <a:ext cx="940702" cy="744343"/>
            </a:xfrm>
            <a:custGeom>
              <a:avLst/>
              <a:gdLst>
                <a:gd name="T0" fmla="*/ 92 w 99"/>
                <a:gd name="T1" fmla="*/ 4 h 78"/>
                <a:gd name="T2" fmla="*/ 89 w 99"/>
                <a:gd name="T3" fmla="*/ 2 h 78"/>
                <a:gd name="T4" fmla="*/ 76 w 99"/>
                <a:gd name="T5" fmla="*/ 4 h 78"/>
                <a:gd name="T6" fmla="*/ 71 w 99"/>
                <a:gd name="T7" fmla="*/ 11 h 78"/>
                <a:gd name="T8" fmla="*/ 61 w 99"/>
                <a:gd name="T9" fmla="*/ 42 h 78"/>
                <a:gd name="T10" fmla="*/ 24 w 99"/>
                <a:gd name="T11" fmla="*/ 11 h 78"/>
                <a:gd name="T12" fmla="*/ 5 w 99"/>
                <a:gd name="T13" fmla="*/ 13 h 78"/>
                <a:gd name="T14" fmla="*/ 7 w 99"/>
                <a:gd name="T15" fmla="*/ 33 h 78"/>
                <a:gd name="T16" fmla="*/ 59 w 99"/>
                <a:gd name="T17" fmla="*/ 75 h 78"/>
                <a:gd name="T18" fmla="*/ 68 w 99"/>
                <a:gd name="T19" fmla="*/ 78 h 78"/>
                <a:gd name="T20" fmla="*/ 80 w 99"/>
                <a:gd name="T21" fmla="*/ 69 h 78"/>
                <a:gd name="T22" fmla="*/ 98 w 99"/>
                <a:gd name="T23" fmla="*/ 19 h 78"/>
                <a:gd name="T24" fmla="*/ 92 w 99"/>
                <a:gd name="T25" fmla="*/ 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78">
                  <a:moveTo>
                    <a:pt x="92" y="4"/>
                  </a:moveTo>
                  <a:cubicBezTo>
                    <a:pt x="91" y="3"/>
                    <a:pt x="89" y="2"/>
                    <a:pt x="89" y="2"/>
                  </a:cubicBezTo>
                  <a:cubicBezTo>
                    <a:pt x="84" y="0"/>
                    <a:pt x="79" y="1"/>
                    <a:pt x="76" y="4"/>
                  </a:cubicBezTo>
                  <a:cubicBezTo>
                    <a:pt x="74" y="6"/>
                    <a:pt x="72" y="8"/>
                    <a:pt x="71" y="11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8" y="6"/>
                    <a:pt x="10" y="7"/>
                    <a:pt x="5" y="13"/>
                  </a:cubicBezTo>
                  <a:cubicBezTo>
                    <a:pt x="0" y="19"/>
                    <a:pt x="0" y="28"/>
                    <a:pt x="7" y="33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61" y="77"/>
                    <a:pt x="64" y="78"/>
                    <a:pt x="68" y="78"/>
                  </a:cubicBezTo>
                  <a:cubicBezTo>
                    <a:pt x="73" y="78"/>
                    <a:pt x="79" y="75"/>
                    <a:pt x="80" y="6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9" y="14"/>
                    <a:pt x="96" y="7"/>
                    <a:pt x="92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53A699D-3375-4429-9920-CE227947B553}"/>
                </a:ext>
              </a:extLst>
            </p:cNvPr>
            <p:cNvSpPr/>
            <p:nvPr/>
          </p:nvSpPr>
          <p:spPr bwMode="auto">
            <a:xfrm>
              <a:off x="1332599" y="3355418"/>
              <a:ext cx="1538916" cy="77633"/>
            </a:xfrm>
            <a:custGeom>
              <a:avLst/>
              <a:gdLst>
                <a:gd name="T0" fmla="*/ 162 w 162"/>
                <a:gd name="T1" fmla="*/ 5 h 8"/>
                <a:gd name="T2" fmla="*/ 162 w 162"/>
                <a:gd name="T3" fmla="*/ 0 h 8"/>
                <a:gd name="T4" fmla="*/ 3 w 162"/>
                <a:gd name="T5" fmla="*/ 0 h 8"/>
                <a:gd name="T6" fmla="*/ 0 w 162"/>
                <a:gd name="T7" fmla="*/ 5 h 8"/>
                <a:gd name="T8" fmla="*/ 3 w 162"/>
                <a:gd name="T9" fmla="*/ 8 h 8"/>
                <a:gd name="T10" fmla="*/ 86 w 162"/>
                <a:gd name="T11" fmla="*/ 8 h 8"/>
                <a:gd name="T12" fmla="*/ 87 w 162"/>
                <a:gd name="T13" fmla="*/ 8 h 8"/>
                <a:gd name="T14" fmla="*/ 104 w 162"/>
                <a:gd name="T15" fmla="*/ 5 h 8"/>
                <a:gd name="T16" fmla="*/ 110 w 162"/>
                <a:gd name="T17" fmla="*/ 8 h 8"/>
                <a:gd name="T18" fmla="*/ 110 w 162"/>
                <a:gd name="T19" fmla="*/ 8 h 8"/>
                <a:gd name="T20" fmla="*/ 162 w 162"/>
                <a:gd name="T21" fmla="*/ 8 h 8"/>
                <a:gd name="T22" fmla="*/ 162 w 162"/>
                <a:gd name="T2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8">
                  <a:moveTo>
                    <a:pt x="162" y="5"/>
                  </a:moveTo>
                  <a:cubicBezTo>
                    <a:pt x="162" y="3"/>
                    <a:pt x="162" y="3"/>
                    <a:pt x="16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6"/>
                    <a:pt x="2" y="8"/>
                    <a:pt x="3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91" y="5"/>
                    <a:pt x="98" y="3"/>
                    <a:pt x="104" y="5"/>
                  </a:cubicBezTo>
                  <a:cubicBezTo>
                    <a:pt x="106" y="6"/>
                    <a:pt x="108" y="7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7"/>
                    <a:pt x="162" y="6"/>
                    <a:pt x="162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068CF3E-2BFF-4A8E-ACE6-430B6EF232BE}"/>
              </a:ext>
            </a:extLst>
          </p:cNvPr>
          <p:cNvSpPr/>
          <p:nvPr/>
        </p:nvSpPr>
        <p:spPr bwMode="auto">
          <a:xfrm>
            <a:off x="9323994" y="3355418"/>
            <a:ext cx="1598279" cy="77633"/>
          </a:xfrm>
          <a:custGeom>
            <a:avLst/>
            <a:gdLst>
              <a:gd name="T0" fmla="*/ 164 w 168"/>
              <a:gd name="T1" fmla="*/ 0 h 8"/>
              <a:gd name="T2" fmla="*/ 166 w 168"/>
              <a:gd name="T3" fmla="*/ 0 h 8"/>
              <a:gd name="T4" fmla="*/ 166 w 168"/>
              <a:gd name="T5" fmla="*/ 0 h 8"/>
              <a:gd name="T6" fmla="*/ 164 w 168"/>
              <a:gd name="T7" fmla="*/ 0 h 8"/>
              <a:gd name="T8" fmla="*/ 6 w 168"/>
              <a:gd name="T9" fmla="*/ 0 h 8"/>
              <a:gd name="T10" fmla="*/ 0 w 168"/>
              <a:gd name="T11" fmla="*/ 0 h 8"/>
              <a:gd name="T12" fmla="*/ 0 w 168"/>
              <a:gd name="T13" fmla="*/ 5 h 8"/>
              <a:gd name="T14" fmla="*/ 0 w 168"/>
              <a:gd name="T15" fmla="*/ 8 h 8"/>
              <a:gd name="T16" fmla="*/ 6 w 168"/>
              <a:gd name="T17" fmla="*/ 8 h 8"/>
              <a:gd name="T18" fmla="*/ 8 w 168"/>
              <a:gd name="T19" fmla="*/ 8 h 8"/>
              <a:gd name="T20" fmla="*/ 58 w 168"/>
              <a:gd name="T21" fmla="*/ 8 h 8"/>
              <a:gd name="T22" fmla="*/ 58 w 168"/>
              <a:gd name="T23" fmla="*/ 8 h 8"/>
              <a:gd name="T24" fmla="*/ 64 w 168"/>
              <a:gd name="T25" fmla="*/ 5 h 8"/>
              <a:gd name="T26" fmla="*/ 81 w 168"/>
              <a:gd name="T27" fmla="*/ 8 h 8"/>
              <a:gd name="T28" fmla="*/ 82 w 168"/>
              <a:gd name="T29" fmla="*/ 8 h 8"/>
              <a:gd name="T30" fmla="*/ 164 w 168"/>
              <a:gd name="T31" fmla="*/ 8 h 8"/>
              <a:gd name="T32" fmla="*/ 168 w 168"/>
              <a:gd name="T33" fmla="*/ 5 h 8"/>
              <a:gd name="T34" fmla="*/ 164 w 168"/>
              <a:gd name="T3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68" h="8">
                <a:moveTo>
                  <a:pt x="164" y="0"/>
                </a:moveTo>
                <a:cubicBezTo>
                  <a:pt x="166" y="0"/>
                  <a:pt x="166" y="0"/>
                  <a:pt x="166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64" y="0"/>
                  <a:pt x="164" y="0"/>
                  <a:pt x="164" y="0"/>
                </a:cubicBezTo>
                <a:cubicBezTo>
                  <a:pt x="6" y="0"/>
                  <a:pt x="6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"/>
                  <a:pt x="0" y="3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6" y="8"/>
                  <a:pt x="6" y="8"/>
                  <a:pt x="6" y="8"/>
                </a:cubicBezTo>
                <a:cubicBezTo>
                  <a:pt x="8" y="8"/>
                  <a:pt x="8" y="8"/>
                  <a:pt x="8" y="8"/>
                </a:cubicBezTo>
                <a:cubicBezTo>
                  <a:pt x="58" y="8"/>
                  <a:pt x="58" y="8"/>
                  <a:pt x="58" y="8"/>
                </a:cubicBezTo>
                <a:cubicBezTo>
                  <a:pt x="58" y="8"/>
                  <a:pt x="58" y="8"/>
                  <a:pt x="58" y="8"/>
                </a:cubicBezTo>
                <a:cubicBezTo>
                  <a:pt x="61" y="7"/>
                  <a:pt x="62" y="6"/>
                  <a:pt x="64" y="5"/>
                </a:cubicBezTo>
                <a:cubicBezTo>
                  <a:pt x="70" y="3"/>
                  <a:pt x="76" y="5"/>
                  <a:pt x="81" y="8"/>
                </a:cubicBezTo>
                <a:cubicBezTo>
                  <a:pt x="82" y="8"/>
                  <a:pt x="82" y="8"/>
                  <a:pt x="82" y="8"/>
                </a:cubicBezTo>
                <a:cubicBezTo>
                  <a:pt x="164" y="8"/>
                  <a:pt x="164" y="8"/>
                  <a:pt x="164" y="8"/>
                </a:cubicBezTo>
                <a:cubicBezTo>
                  <a:pt x="166" y="8"/>
                  <a:pt x="168" y="6"/>
                  <a:pt x="168" y="5"/>
                </a:cubicBezTo>
                <a:cubicBezTo>
                  <a:pt x="168" y="3"/>
                  <a:pt x="166" y="0"/>
                  <a:pt x="1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BF1A8B2-FC98-4145-9635-B626E4767494}"/>
              </a:ext>
            </a:extLst>
          </p:cNvPr>
          <p:cNvCxnSpPr>
            <a:cxnSpLocks/>
            <a:stCxn id="53" idx="0"/>
            <a:endCxn id="55" idx="2"/>
          </p:cNvCxnSpPr>
          <p:nvPr/>
        </p:nvCxnSpPr>
        <p:spPr>
          <a:xfrm flipV="1">
            <a:off x="3065079" y="2331720"/>
            <a:ext cx="0" cy="828969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矩形 54">
            <a:extLst>
              <a:ext uri="{FF2B5EF4-FFF2-40B4-BE49-F238E27FC236}">
                <a16:creationId xmlns:a16="http://schemas.microsoft.com/office/drawing/2014/main" id="{6972B1DC-B66B-4218-A45B-DE6E59FE9838}"/>
              </a:ext>
            </a:extLst>
          </p:cNvPr>
          <p:cNvSpPr/>
          <p:nvPr/>
        </p:nvSpPr>
        <p:spPr bwMode="auto">
          <a:xfrm>
            <a:off x="1994796" y="1692639"/>
            <a:ext cx="2140566" cy="63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BB62791E-7291-44A8-88F3-9C2EC82894C8}"/>
              </a:ext>
            </a:extLst>
          </p:cNvPr>
          <p:cNvSpPr txBox="1"/>
          <p:nvPr/>
        </p:nvSpPr>
        <p:spPr bwMode="auto">
          <a:xfrm>
            <a:off x="1994796" y="1341500"/>
            <a:ext cx="214056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53" name="椭圆 52">
            <a:extLst>
              <a:ext uri="{FF2B5EF4-FFF2-40B4-BE49-F238E27FC236}">
                <a16:creationId xmlns:a16="http://schemas.microsoft.com/office/drawing/2014/main" id="{C85A2E69-AA6D-4715-882F-DD562AA8FB70}"/>
              </a:ext>
            </a:extLst>
          </p:cNvPr>
          <p:cNvSpPr/>
          <p:nvPr/>
        </p:nvSpPr>
        <p:spPr>
          <a:xfrm>
            <a:off x="2826153" y="3160689"/>
            <a:ext cx="477852" cy="477852"/>
          </a:xfrm>
          <a:prstGeom prst="ellipse">
            <a:avLst/>
          </a:prstGeom>
          <a:solidFill>
            <a:schemeClr val="bg1"/>
          </a:solidFill>
          <a:ln w="38100" cmpd="thickThin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132A4515-A47A-490D-97BB-4A5AC7C098F9}"/>
              </a:ext>
            </a:extLst>
          </p:cNvPr>
          <p:cNvSpPr/>
          <p:nvPr/>
        </p:nvSpPr>
        <p:spPr bwMode="auto">
          <a:xfrm>
            <a:off x="2988752" y="3247034"/>
            <a:ext cx="152653" cy="296027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7CEA84A9-7E06-4874-B326-6F9086675602}"/>
              </a:ext>
            </a:extLst>
          </p:cNvPr>
          <p:cNvSpPr/>
          <p:nvPr/>
        </p:nvSpPr>
        <p:spPr bwMode="auto">
          <a:xfrm>
            <a:off x="3484620" y="4651925"/>
            <a:ext cx="2140566" cy="63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C72756B-9592-49E5-B0E6-36966F44F425}"/>
              </a:ext>
            </a:extLst>
          </p:cNvPr>
          <p:cNvSpPr txBox="1"/>
          <p:nvPr/>
        </p:nvSpPr>
        <p:spPr bwMode="auto">
          <a:xfrm>
            <a:off x="3484620" y="4300786"/>
            <a:ext cx="214056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44" name="直接连接符 43">
            <a:extLst>
              <a:ext uri="{FF2B5EF4-FFF2-40B4-BE49-F238E27FC236}">
                <a16:creationId xmlns:a16="http://schemas.microsoft.com/office/drawing/2014/main" id="{B50A1957-CB88-434E-8F77-1F155BE28034}"/>
              </a:ext>
            </a:extLst>
          </p:cNvPr>
          <p:cNvCxnSpPr>
            <a:cxnSpLocks/>
            <a:stCxn id="46" idx="4"/>
            <a:endCxn id="49" idx="0"/>
          </p:cNvCxnSpPr>
          <p:nvPr/>
        </p:nvCxnSpPr>
        <p:spPr>
          <a:xfrm>
            <a:off x="4554903" y="3638541"/>
            <a:ext cx="0" cy="6622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椭圆 45">
            <a:extLst>
              <a:ext uri="{FF2B5EF4-FFF2-40B4-BE49-F238E27FC236}">
                <a16:creationId xmlns:a16="http://schemas.microsoft.com/office/drawing/2014/main" id="{9C829853-2821-4064-8CDB-1871F543C2A0}"/>
              </a:ext>
            </a:extLst>
          </p:cNvPr>
          <p:cNvSpPr/>
          <p:nvPr/>
        </p:nvSpPr>
        <p:spPr>
          <a:xfrm>
            <a:off x="4315977" y="3160689"/>
            <a:ext cx="477852" cy="477852"/>
          </a:xfrm>
          <a:prstGeom prst="ellipse">
            <a:avLst/>
          </a:prstGeom>
          <a:solidFill>
            <a:schemeClr val="bg1"/>
          </a:solidFill>
          <a:ln w="38100" cmpd="thickThin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36511B43-650A-4A43-B0C1-18562950C42E}"/>
              </a:ext>
            </a:extLst>
          </p:cNvPr>
          <p:cNvSpPr/>
          <p:nvPr/>
        </p:nvSpPr>
        <p:spPr bwMode="auto">
          <a:xfrm>
            <a:off x="4478576" y="3247034"/>
            <a:ext cx="152653" cy="296027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5FC18171-A069-4697-94E0-DFC674D92BE5}"/>
              </a:ext>
            </a:extLst>
          </p:cNvPr>
          <p:cNvSpPr/>
          <p:nvPr/>
        </p:nvSpPr>
        <p:spPr bwMode="auto">
          <a:xfrm>
            <a:off x="8020819" y="1692639"/>
            <a:ext cx="2140566" cy="63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84624F38-BD58-43CF-A283-24EF82F9BC64}"/>
              </a:ext>
            </a:extLst>
          </p:cNvPr>
          <p:cNvSpPr txBox="1"/>
          <p:nvPr/>
        </p:nvSpPr>
        <p:spPr bwMode="auto">
          <a:xfrm>
            <a:off x="8020819" y="1341500"/>
            <a:ext cx="214056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7B0370AA-BE50-4180-82C1-22E91D31D453}"/>
              </a:ext>
            </a:extLst>
          </p:cNvPr>
          <p:cNvCxnSpPr>
            <a:cxnSpLocks/>
            <a:stCxn id="38" idx="0"/>
            <a:endCxn id="40" idx="2"/>
          </p:cNvCxnSpPr>
          <p:nvPr/>
        </p:nvCxnSpPr>
        <p:spPr>
          <a:xfrm flipV="1">
            <a:off x="9091102" y="2331720"/>
            <a:ext cx="0" cy="828969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椭圆 37">
            <a:extLst>
              <a:ext uri="{FF2B5EF4-FFF2-40B4-BE49-F238E27FC236}">
                <a16:creationId xmlns:a16="http://schemas.microsoft.com/office/drawing/2014/main" id="{4A2F23A9-AA33-4649-9D8F-4C35059A9580}"/>
              </a:ext>
            </a:extLst>
          </p:cNvPr>
          <p:cNvSpPr/>
          <p:nvPr/>
        </p:nvSpPr>
        <p:spPr>
          <a:xfrm>
            <a:off x="8852176" y="3160689"/>
            <a:ext cx="477852" cy="477852"/>
          </a:xfrm>
          <a:prstGeom prst="ellipse">
            <a:avLst/>
          </a:prstGeom>
          <a:solidFill>
            <a:schemeClr val="bg1"/>
          </a:solidFill>
          <a:ln w="38100" cmpd="thickThin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9D9F24AF-80F7-4440-A8CC-7D1CB6C56424}"/>
              </a:ext>
            </a:extLst>
          </p:cNvPr>
          <p:cNvSpPr/>
          <p:nvPr/>
        </p:nvSpPr>
        <p:spPr bwMode="auto">
          <a:xfrm>
            <a:off x="9014775" y="3247034"/>
            <a:ext cx="152653" cy="296027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D48312E-15A1-4509-B654-EB5D9562020E}"/>
              </a:ext>
            </a:extLst>
          </p:cNvPr>
          <p:cNvSpPr/>
          <p:nvPr/>
        </p:nvSpPr>
        <p:spPr bwMode="auto">
          <a:xfrm>
            <a:off x="4996686" y="1692639"/>
            <a:ext cx="2140566" cy="63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E9B0E856-86C8-446B-A7A4-02A2618008EB}"/>
              </a:ext>
            </a:extLst>
          </p:cNvPr>
          <p:cNvSpPr txBox="1"/>
          <p:nvPr/>
        </p:nvSpPr>
        <p:spPr bwMode="auto">
          <a:xfrm>
            <a:off x="4996686" y="1341500"/>
            <a:ext cx="214056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852DF401-15DE-4B85-9186-FA942EEB2048}"/>
              </a:ext>
            </a:extLst>
          </p:cNvPr>
          <p:cNvCxnSpPr>
            <a:cxnSpLocks/>
            <a:stCxn id="30" idx="0"/>
            <a:endCxn id="32" idx="2"/>
          </p:cNvCxnSpPr>
          <p:nvPr/>
        </p:nvCxnSpPr>
        <p:spPr>
          <a:xfrm flipV="1">
            <a:off x="6066969" y="2331720"/>
            <a:ext cx="0" cy="828969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椭圆 29">
            <a:extLst>
              <a:ext uri="{FF2B5EF4-FFF2-40B4-BE49-F238E27FC236}">
                <a16:creationId xmlns:a16="http://schemas.microsoft.com/office/drawing/2014/main" id="{1131749A-CCA2-45E9-9E68-4175B63E9CC8}"/>
              </a:ext>
            </a:extLst>
          </p:cNvPr>
          <p:cNvSpPr/>
          <p:nvPr/>
        </p:nvSpPr>
        <p:spPr>
          <a:xfrm>
            <a:off x="5828043" y="3160689"/>
            <a:ext cx="477852" cy="477852"/>
          </a:xfrm>
          <a:prstGeom prst="ellipse">
            <a:avLst/>
          </a:prstGeom>
          <a:solidFill>
            <a:schemeClr val="bg1"/>
          </a:solidFill>
          <a:ln w="38100" cmpd="thickThin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FDD22274-1FD4-4BEE-B09A-48F0DD896E40}"/>
              </a:ext>
            </a:extLst>
          </p:cNvPr>
          <p:cNvSpPr/>
          <p:nvPr/>
        </p:nvSpPr>
        <p:spPr bwMode="auto">
          <a:xfrm>
            <a:off x="5990642" y="3247034"/>
            <a:ext cx="152653" cy="296027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A5D264F6-5B8A-4733-B767-36BAB2750614}"/>
              </a:ext>
            </a:extLst>
          </p:cNvPr>
          <p:cNvCxnSpPr>
            <a:cxnSpLocks/>
            <a:stCxn id="22" idx="4"/>
            <a:endCxn id="25" idx="0"/>
          </p:cNvCxnSpPr>
          <p:nvPr/>
        </p:nvCxnSpPr>
        <p:spPr>
          <a:xfrm>
            <a:off x="7579035" y="3638541"/>
            <a:ext cx="0" cy="6622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oval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F5ADC4C0-CA19-4101-9C10-12049C613A6A}"/>
              </a:ext>
            </a:extLst>
          </p:cNvPr>
          <p:cNvSpPr/>
          <p:nvPr/>
        </p:nvSpPr>
        <p:spPr bwMode="auto">
          <a:xfrm>
            <a:off x="6508752" y="4651925"/>
            <a:ext cx="2140566" cy="63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1288A25-0099-4322-BFA1-E660F17FCC40}"/>
              </a:ext>
            </a:extLst>
          </p:cNvPr>
          <p:cNvSpPr txBox="1"/>
          <p:nvPr/>
        </p:nvSpPr>
        <p:spPr bwMode="auto">
          <a:xfrm>
            <a:off x="6508752" y="4300786"/>
            <a:ext cx="2140566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>
            <a:normAutofit lnSpcReduction="10000"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2EED402C-16AC-4308-8F43-8ED45EFA20CA}"/>
              </a:ext>
            </a:extLst>
          </p:cNvPr>
          <p:cNvSpPr/>
          <p:nvPr/>
        </p:nvSpPr>
        <p:spPr>
          <a:xfrm>
            <a:off x="7340109" y="3160689"/>
            <a:ext cx="477852" cy="477852"/>
          </a:xfrm>
          <a:prstGeom prst="ellipse">
            <a:avLst/>
          </a:prstGeom>
          <a:solidFill>
            <a:schemeClr val="bg1"/>
          </a:solidFill>
          <a:ln w="38100" cmpd="thickThin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3C12A6F3-B438-4FB3-BC63-F2B7823D4A5F}"/>
              </a:ext>
            </a:extLst>
          </p:cNvPr>
          <p:cNvSpPr/>
          <p:nvPr/>
        </p:nvSpPr>
        <p:spPr bwMode="auto">
          <a:xfrm>
            <a:off x="7502708" y="3247034"/>
            <a:ext cx="152653" cy="296027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9434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F937FE-94FD-4A62-B1F7-87A4CB7D4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26251A8-6863-4FAC-8017-6A2403AAF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621BEC-1B63-4C6D-BAE3-8B6080439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067CBB2E-FF6C-460C-A5E2-FE79A3A6EB5B}"/>
              </a:ext>
            </a:extLst>
          </p:cNvPr>
          <p:cNvSpPr/>
          <p:nvPr/>
        </p:nvSpPr>
        <p:spPr bwMode="auto">
          <a:xfrm>
            <a:off x="3911396" y="2529682"/>
            <a:ext cx="2538413" cy="2217737"/>
          </a:xfrm>
          <a:custGeom>
            <a:avLst/>
            <a:gdLst>
              <a:gd name="T0" fmla="*/ 4140 w 26630"/>
              <a:gd name="T1" fmla="*/ 4140 h 23273"/>
              <a:gd name="T2" fmla="*/ 19133 w 26630"/>
              <a:gd name="T3" fmla="*/ 4140 h 23273"/>
              <a:gd name="T4" fmla="*/ 26630 w 26630"/>
              <a:gd name="T5" fmla="*/ 11637 h 23273"/>
              <a:gd name="T6" fmla="*/ 19133 w 26630"/>
              <a:gd name="T7" fmla="*/ 19133 h 23273"/>
              <a:gd name="T8" fmla="*/ 4140 w 26630"/>
              <a:gd name="T9" fmla="*/ 19133 h 23273"/>
              <a:gd name="T10" fmla="*/ 4140 w 26630"/>
              <a:gd name="T11" fmla="*/ 4140 h 23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630" h="23273">
                <a:moveTo>
                  <a:pt x="4140" y="4140"/>
                </a:moveTo>
                <a:cubicBezTo>
                  <a:pt x="8281" y="0"/>
                  <a:pt x="14993" y="0"/>
                  <a:pt x="19133" y="4140"/>
                </a:cubicBezTo>
                <a:cubicBezTo>
                  <a:pt x="21632" y="6639"/>
                  <a:pt x="24131" y="9138"/>
                  <a:pt x="26630" y="11637"/>
                </a:cubicBezTo>
                <a:cubicBezTo>
                  <a:pt x="24131" y="14135"/>
                  <a:pt x="21632" y="16634"/>
                  <a:pt x="19133" y="19133"/>
                </a:cubicBezTo>
                <a:cubicBezTo>
                  <a:pt x="14993" y="23273"/>
                  <a:pt x="8281" y="23273"/>
                  <a:pt x="4140" y="19133"/>
                </a:cubicBezTo>
                <a:cubicBezTo>
                  <a:pt x="0" y="14993"/>
                  <a:pt x="0" y="8280"/>
                  <a:pt x="4140" y="4140"/>
                </a:cubicBezTo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bg1"/>
                </a:solidFill>
                <a:cs typeface="+mn-ea"/>
                <a:sym typeface="+mn-lt"/>
              </a:rPr>
              <a:t>…text</a:t>
            </a:r>
            <a:endParaRPr lang="zh-CN" altLang="en-US" sz="2400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6" name="泪滴形 25">
            <a:extLst>
              <a:ext uri="{FF2B5EF4-FFF2-40B4-BE49-F238E27FC236}">
                <a16:creationId xmlns:a16="http://schemas.microsoft.com/office/drawing/2014/main" id="{79247EDF-35B6-4EFA-9F22-7A167F07AC0D}"/>
              </a:ext>
            </a:extLst>
          </p:cNvPr>
          <p:cNvSpPr/>
          <p:nvPr/>
        </p:nvSpPr>
        <p:spPr>
          <a:xfrm rot="13500000" flipH="1">
            <a:off x="5783698" y="1838433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F4A6324C-F991-447B-83AE-06F78BFBBE7D}"/>
              </a:ext>
            </a:extLst>
          </p:cNvPr>
          <p:cNvSpPr/>
          <p:nvPr/>
        </p:nvSpPr>
        <p:spPr>
          <a:xfrm>
            <a:off x="6268009" y="2343503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泪滴形 23">
            <a:extLst>
              <a:ext uri="{FF2B5EF4-FFF2-40B4-BE49-F238E27FC236}">
                <a16:creationId xmlns:a16="http://schemas.microsoft.com/office/drawing/2014/main" id="{A869661F-95E3-4A09-9166-114698DC0220}"/>
              </a:ext>
            </a:extLst>
          </p:cNvPr>
          <p:cNvSpPr/>
          <p:nvPr/>
        </p:nvSpPr>
        <p:spPr>
          <a:xfrm rot="18900000" flipH="1">
            <a:off x="6863746" y="2930121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6F6186CE-8A9E-4F8F-8AD9-79B49F20627C}"/>
              </a:ext>
            </a:extLst>
          </p:cNvPr>
          <p:cNvSpPr/>
          <p:nvPr/>
        </p:nvSpPr>
        <p:spPr>
          <a:xfrm>
            <a:off x="7348057" y="3435191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泪滴形 21">
            <a:extLst>
              <a:ext uri="{FF2B5EF4-FFF2-40B4-BE49-F238E27FC236}">
                <a16:creationId xmlns:a16="http://schemas.microsoft.com/office/drawing/2014/main" id="{F80776D0-AC2C-40E0-844E-9F9F6BAB9BA2}"/>
              </a:ext>
            </a:extLst>
          </p:cNvPr>
          <p:cNvSpPr/>
          <p:nvPr/>
        </p:nvSpPr>
        <p:spPr>
          <a:xfrm rot="8100000" flipH="1" flipV="1">
            <a:off x="5783698" y="4021809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4DC39EA0-7EA8-4225-8A26-3973C7D8EE68}"/>
              </a:ext>
            </a:extLst>
          </p:cNvPr>
          <p:cNvSpPr/>
          <p:nvPr/>
        </p:nvSpPr>
        <p:spPr>
          <a:xfrm>
            <a:off x="6268009" y="4526879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7493997" y="182263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7493997" y="221474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8634953" y="319911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8634953" y="359122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7493997" y="457559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7493997" y="496770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669925" y="2946353"/>
            <a:ext cx="306217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defTabSz="914400"/>
            <a:r>
              <a:rPr lang="en-US" altLang="zh-CN" sz="1600" b="1" kern="0" dirty="0">
                <a:cs typeface="+mn-ea"/>
                <a:sym typeface="+mn-lt"/>
              </a:rPr>
              <a:t>Text 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669925" y="3338466"/>
            <a:ext cx="3062171" cy="9922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endParaRPr lang="en-US" altLang="zh-CN" sz="10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1275684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88386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E34F602-19B6-43A0-B9AB-62E0D29B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1502EF4-239D-40C1-8F1F-0CE999F80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1D31B52-AEE8-4968-B874-411F5623A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6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66B7F671-5563-44E0-9DA0-F4ADFEAB3B34}"/>
              </a:ext>
            </a:extLst>
          </p:cNvPr>
          <p:cNvCxnSpPr/>
          <p:nvPr/>
        </p:nvCxnSpPr>
        <p:spPr>
          <a:xfrm>
            <a:off x="673100" y="1847850"/>
            <a:ext cx="1084580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椭圆 43">
            <a:extLst>
              <a:ext uri="{FF2B5EF4-FFF2-40B4-BE49-F238E27FC236}">
                <a16:creationId xmlns:a16="http://schemas.microsoft.com/office/drawing/2014/main" id="{1695044F-1717-42B9-82D2-BC6C82BC09C7}"/>
              </a:ext>
            </a:extLst>
          </p:cNvPr>
          <p:cNvSpPr/>
          <p:nvPr/>
        </p:nvSpPr>
        <p:spPr>
          <a:xfrm>
            <a:off x="1595654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0C6F17D1-0B08-43DD-BE59-B1BDAC07279B}"/>
              </a:ext>
            </a:extLst>
          </p:cNvPr>
          <p:cNvSpPr/>
          <p:nvPr/>
        </p:nvSpPr>
        <p:spPr>
          <a:xfrm>
            <a:off x="1185668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20XX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76D5AF6B-5164-4F3E-A5FE-0882A726AEA5}"/>
              </a:ext>
            </a:extLst>
          </p:cNvPr>
          <p:cNvSpPr/>
          <p:nvPr/>
        </p:nvSpPr>
        <p:spPr>
          <a:xfrm>
            <a:off x="1359404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73100" y="2075688"/>
            <a:ext cx="2035609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73100" y="2638940"/>
            <a:ext cx="2035609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000">
                <a:cs typeface="+mn-ea"/>
                <a:sym typeface="+mn-lt"/>
              </a:rPr>
              <a:t>t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347F7A31-2299-42C2-9A24-4DB98EC80EF8}"/>
              </a:ext>
            </a:extLst>
          </p:cNvPr>
          <p:cNvSpPr txBox="1"/>
          <p:nvPr/>
        </p:nvSpPr>
        <p:spPr>
          <a:xfrm>
            <a:off x="673100" y="5682055"/>
            <a:ext cx="2035609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>
                <a:cs typeface="+mn-ea"/>
                <a:sym typeface="+mn-lt"/>
              </a:rPr>
              <a:t>…te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0FFF8C3D-E310-4062-8DBF-C776B1FC822B}"/>
              </a:ext>
            </a:extLst>
          </p:cNvPr>
          <p:cNvSpPr/>
          <p:nvPr/>
        </p:nvSpPr>
        <p:spPr>
          <a:xfrm>
            <a:off x="3798202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25423D7B-7709-43BF-AC69-CA1219660A02}"/>
              </a:ext>
            </a:extLst>
          </p:cNvPr>
          <p:cNvSpPr/>
          <p:nvPr/>
        </p:nvSpPr>
        <p:spPr>
          <a:xfrm>
            <a:off x="3388216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20XX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3F6E0986-BD51-496D-827E-52155D16FBE8}"/>
              </a:ext>
            </a:extLst>
          </p:cNvPr>
          <p:cNvSpPr/>
          <p:nvPr/>
        </p:nvSpPr>
        <p:spPr>
          <a:xfrm>
            <a:off x="3561952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32CC4097-C382-4159-BAD3-657BBB1713EC}"/>
              </a:ext>
            </a:extLst>
          </p:cNvPr>
          <p:cNvSpPr txBox="1"/>
          <p:nvPr/>
        </p:nvSpPr>
        <p:spPr>
          <a:xfrm>
            <a:off x="2875648" y="2075688"/>
            <a:ext cx="2035609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04203E49-B533-4F65-A6E9-C3BC990A8F59}"/>
              </a:ext>
            </a:extLst>
          </p:cNvPr>
          <p:cNvSpPr/>
          <p:nvPr/>
        </p:nvSpPr>
        <p:spPr bwMode="auto">
          <a:xfrm>
            <a:off x="2875648" y="2638940"/>
            <a:ext cx="2035609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000">
                <a:cs typeface="+mn-ea"/>
                <a:sym typeface="+mn-lt"/>
              </a:rPr>
              <a:t>t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AF0C721C-489C-4FF3-9F0E-C2EC45ECB59E}"/>
              </a:ext>
            </a:extLst>
          </p:cNvPr>
          <p:cNvSpPr txBox="1"/>
          <p:nvPr/>
        </p:nvSpPr>
        <p:spPr>
          <a:xfrm>
            <a:off x="2875648" y="5682055"/>
            <a:ext cx="2035609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>
                <a:cs typeface="+mn-ea"/>
                <a:sym typeface="+mn-lt"/>
              </a:rPr>
              <a:t>…te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C4EDE531-F658-4ED4-A5FD-B261BC56D220}"/>
              </a:ext>
            </a:extLst>
          </p:cNvPr>
          <p:cNvSpPr/>
          <p:nvPr/>
        </p:nvSpPr>
        <p:spPr>
          <a:xfrm>
            <a:off x="6000750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7298F1B9-9ACE-4CE1-A497-40231B5A430D}"/>
              </a:ext>
            </a:extLst>
          </p:cNvPr>
          <p:cNvSpPr/>
          <p:nvPr/>
        </p:nvSpPr>
        <p:spPr>
          <a:xfrm>
            <a:off x="5590764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20XX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2F49B438-644C-49B4-84C0-3D46444D6F3B}"/>
              </a:ext>
            </a:extLst>
          </p:cNvPr>
          <p:cNvSpPr/>
          <p:nvPr/>
        </p:nvSpPr>
        <p:spPr>
          <a:xfrm>
            <a:off x="5764500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9CA4CAF-ECE6-4030-97F8-63406A592B14}"/>
              </a:ext>
            </a:extLst>
          </p:cNvPr>
          <p:cNvSpPr txBox="1"/>
          <p:nvPr/>
        </p:nvSpPr>
        <p:spPr>
          <a:xfrm>
            <a:off x="5078195" y="2075688"/>
            <a:ext cx="2035609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AEA443E-1165-4BBF-806F-01A3B0B3856F}"/>
              </a:ext>
            </a:extLst>
          </p:cNvPr>
          <p:cNvSpPr/>
          <p:nvPr/>
        </p:nvSpPr>
        <p:spPr bwMode="auto">
          <a:xfrm>
            <a:off x="5078195" y="2638940"/>
            <a:ext cx="2035609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000">
                <a:cs typeface="+mn-ea"/>
                <a:sym typeface="+mn-lt"/>
              </a:rPr>
              <a:t>t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7FDFB0D-E819-46FC-A70C-5A5C55BA35CB}"/>
              </a:ext>
            </a:extLst>
          </p:cNvPr>
          <p:cNvSpPr txBox="1"/>
          <p:nvPr/>
        </p:nvSpPr>
        <p:spPr>
          <a:xfrm>
            <a:off x="5078195" y="5682055"/>
            <a:ext cx="2035609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>
                <a:cs typeface="+mn-ea"/>
                <a:sym typeface="+mn-lt"/>
              </a:rPr>
              <a:t>…te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14117E7A-EA86-465E-AC97-B556D8ED4653}"/>
              </a:ext>
            </a:extLst>
          </p:cNvPr>
          <p:cNvSpPr/>
          <p:nvPr/>
        </p:nvSpPr>
        <p:spPr>
          <a:xfrm>
            <a:off x="8203298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BD847CE3-F828-4296-85EA-2EB118314799}"/>
              </a:ext>
            </a:extLst>
          </p:cNvPr>
          <p:cNvSpPr/>
          <p:nvPr/>
        </p:nvSpPr>
        <p:spPr>
          <a:xfrm>
            <a:off x="7793312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20XX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105B88AC-0164-4754-B7B9-DA6E62A5214F}"/>
              </a:ext>
            </a:extLst>
          </p:cNvPr>
          <p:cNvSpPr/>
          <p:nvPr/>
        </p:nvSpPr>
        <p:spPr>
          <a:xfrm>
            <a:off x="7967048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09B775A-DFDA-4720-B99F-ECDE333F29A4}"/>
              </a:ext>
            </a:extLst>
          </p:cNvPr>
          <p:cNvSpPr txBox="1"/>
          <p:nvPr/>
        </p:nvSpPr>
        <p:spPr>
          <a:xfrm>
            <a:off x="7280743" y="2075688"/>
            <a:ext cx="2035609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79515EEE-42EE-4D41-B201-B1A627E64487}"/>
              </a:ext>
            </a:extLst>
          </p:cNvPr>
          <p:cNvSpPr/>
          <p:nvPr/>
        </p:nvSpPr>
        <p:spPr bwMode="auto">
          <a:xfrm>
            <a:off x="7280743" y="2638940"/>
            <a:ext cx="2035609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000">
                <a:cs typeface="+mn-ea"/>
                <a:sym typeface="+mn-lt"/>
              </a:rPr>
              <a:t>t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EFD9AE0-8151-40D3-B39B-6C691F927C29}"/>
              </a:ext>
            </a:extLst>
          </p:cNvPr>
          <p:cNvSpPr txBox="1"/>
          <p:nvPr/>
        </p:nvSpPr>
        <p:spPr>
          <a:xfrm>
            <a:off x="7280743" y="5682055"/>
            <a:ext cx="2035609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>
                <a:cs typeface="+mn-ea"/>
                <a:sym typeface="+mn-lt"/>
              </a:rPr>
              <a:t>…te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6EBC6695-4FF6-4515-B28B-C712EC8512F5}"/>
              </a:ext>
            </a:extLst>
          </p:cNvPr>
          <p:cNvSpPr/>
          <p:nvPr/>
        </p:nvSpPr>
        <p:spPr>
          <a:xfrm>
            <a:off x="10405845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FD054F48-FF2C-478D-A414-3872C703EB87}"/>
              </a:ext>
            </a:extLst>
          </p:cNvPr>
          <p:cNvSpPr/>
          <p:nvPr/>
        </p:nvSpPr>
        <p:spPr>
          <a:xfrm>
            <a:off x="9995859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20XX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65E295D8-CA67-4405-98A7-F80223B268A6}"/>
              </a:ext>
            </a:extLst>
          </p:cNvPr>
          <p:cNvSpPr/>
          <p:nvPr/>
        </p:nvSpPr>
        <p:spPr>
          <a:xfrm>
            <a:off x="10169595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A38AF98-3DA2-402C-9F23-DC19E44C5308}"/>
              </a:ext>
            </a:extLst>
          </p:cNvPr>
          <p:cNvSpPr txBox="1"/>
          <p:nvPr/>
        </p:nvSpPr>
        <p:spPr>
          <a:xfrm>
            <a:off x="9483291" y="2075688"/>
            <a:ext cx="2035609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id-ID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29B6C12-6DC4-4641-A4A6-8B5967D45097}"/>
              </a:ext>
            </a:extLst>
          </p:cNvPr>
          <p:cNvSpPr/>
          <p:nvPr/>
        </p:nvSpPr>
        <p:spPr bwMode="auto">
          <a:xfrm>
            <a:off x="9483291" y="2638940"/>
            <a:ext cx="2035609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000">
                <a:cs typeface="+mn-ea"/>
                <a:sym typeface="+mn-lt"/>
              </a:rPr>
              <a:t>t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84E92588-CC2D-4BC2-8062-26B3F4CB64B4}"/>
              </a:ext>
            </a:extLst>
          </p:cNvPr>
          <p:cNvSpPr txBox="1"/>
          <p:nvPr/>
        </p:nvSpPr>
        <p:spPr>
          <a:xfrm>
            <a:off x="9483291" y="5682055"/>
            <a:ext cx="2035609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>
                <a:cs typeface="+mn-ea"/>
                <a:sym typeface="+mn-lt"/>
              </a:rPr>
              <a:t>…text</a:t>
            </a:r>
            <a:endParaRPr lang="id-ID" sz="14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59869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24316AB-80F0-4DDF-BE26-BCFC9E96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1DEFD37-2F4F-4C24-875C-3F57B71EA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D51E572-9A76-40EE-A5B0-17750E1A1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矩形: 圆角 38">
            <a:extLst>
              <a:ext uri="{FF2B5EF4-FFF2-40B4-BE49-F238E27FC236}">
                <a16:creationId xmlns:a16="http://schemas.microsoft.com/office/drawing/2014/main" id="{2F11B80D-C6FB-4403-A2FA-94743FE40AB8}"/>
              </a:ext>
            </a:extLst>
          </p:cNvPr>
          <p:cNvSpPr/>
          <p:nvPr/>
        </p:nvSpPr>
        <p:spPr>
          <a:xfrm>
            <a:off x="673100" y="2506710"/>
            <a:ext cx="2076335" cy="565022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en-US" altLang="zh-CN" dirty="0">
                <a:solidFill>
                  <a:srgbClr val="FFFFFF"/>
                </a:solidFill>
                <a:cs typeface="+mn-ea"/>
                <a:sym typeface="+mn-lt"/>
              </a:rPr>
              <a:t>…text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487E846E-62A1-46C7-A832-FFC4BCC31D78}"/>
              </a:ext>
            </a:extLst>
          </p:cNvPr>
          <p:cNvSpPr/>
          <p:nvPr/>
        </p:nvSpPr>
        <p:spPr bwMode="auto">
          <a:xfrm>
            <a:off x="673100" y="3237239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DFF01080-9C99-4BDA-8AC2-0FDA18F242EF}"/>
              </a:ext>
            </a:extLst>
          </p:cNvPr>
          <p:cNvSpPr/>
          <p:nvPr/>
        </p:nvSpPr>
        <p:spPr bwMode="auto">
          <a:xfrm>
            <a:off x="673100" y="4108857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6D04CAFD-629C-4139-9125-313DE470E80F}"/>
              </a:ext>
            </a:extLst>
          </p:cNvPr>
          <p:cNvSpPr/>
          <p:nvPr/>
        </p:nvSpPr>
        <p:spPr bwMode="auto">
          <a:xfrm>
            <a:off x="673100" y="4980475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C22E4A2-31EF-442C-96D9-251D9AFC3DD4}"/>
              </a:ext>
            </a:extLst>
          </p:cNvPr>
          <p:cNvCxnSpPr/>
          <p:nvPr/>
        </p:nvCxnSpPr>
        <p:spPr>
          <a:xfrm>
            <a:off x="2807451" y="3240414"/>
            <a:ext cx="0" cy="290638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16C590EC-23C4-4BA6-B174-ECBD3FF53B4E}"/>
              </a:ext>
            </a:extLst>
          </p:cNvPr>
          <p:cNvSpPr/>
          <p:nvPr/>
        </p:nvSpPr>
        <p:spPr>
          <a:xfrm>
            <a:off x="2865466" y="2506710"/>
            <a:ext cx="2076335" cy="565022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en-US" altLang="zh-CN" dirty="0">
                <a:solidFill>
                  <a:srgbClr val="FFFFFF"/>
                </a:solidFill>
                <a:cs typeface="+mn-ea"/>
                <a:sym typeface="+mn-lt"/>
              </a:rPr>
              <a:t>…text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552375E9-7249-4616-A33D-67725D46CF72}"/>
              </a:ext>
            </a:extLst>
          </p:cNvPr>
          <p:cNvSpPr/>
          <p:nvPr/>
        </p:nvSpPr>
        <p:spPr bwMode="auto">
          <a:xfrm>
            <a:off x="2865466" y="3237239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5F154BE0-F252-4866-8A8A-351A46E416A7}"/>
              </a:ext>
            </a:extLst>
          </p:cNvPr>
          <p:cNvSpPr/>
          <p:nvPr/>
        </p:nvSpPr>
        <p:spPr bwMode="auto">
          <a:xfrm>
            <a:off x="2865466" y="4108857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5AADA158-C1FE-46F8-9C16-BA5CD7572E3B}"/>
              </a:ext>
            </a:extLst>
          </p:cNvPr>
          <p:cNvSpPr/>
          <p:nvPr/>
        </p:nvSpPr>
        <p:spPr>
          <a:xfrm>
            <a:off x="5057832" y="2506710"/>
            <a:ext cx="2076335" cy="565022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en-US" altLang="zh-CN" dirty="0">
                <a:solidFill>
                  <a:srgbClr val="FFFFFF"/>
                </a:solidFill>
                <a:cs typeface="+mn-ea"/>
                <a:sym typeface="+mn-lt"/>
              </a:rPr>
              <a:t>…text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99906C0D-E360-4418-869B-146045F99B01}"/>
              </a:ext>
            </a:extLst>
          </p:cNvPr>
          <p:cNvSpPr/>
          <p:nvPr/>
        </p:nvSpPr>
        <p:spPr bwMode="auto">
          <a:xfrm>
            <a:off x="5057832" y="3237239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3486505B-CA56-4B30-A880-0AD142AC0B68}"/>
              </a:ext>
            </a:extLst>
          </p:cNvPr>
          <p:cNvSpPr/>
          <p:nvPr/>
        </p:nvSpPr>
        <p:spPr bwMode="auto">
          <a:xfrm>
            <a:off x="5057832" y="4108857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C79A558B-448A-48D6-835C-33935B64431F}"/>
              </a:ext>
            </a:extLst>
          </p:cNvPr>
          <p:cNvSpPr/>
          <p:nvPr/>
        </p:nvSpPr>
        <p:spPr bwMode="auto">
          <a:xfrm>
            <a:off x="5057832" y="4980475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4EC7DF5A-7558-4AC5-897A-BCD4C6FD1CB4}"/>
              </a:ext>
            </a:extLst>
          </p:cNvPr>
          <p:cNvSpPr/>
          <p:nvPr/>
        </p:nvSpPr>
        <p:spPr>
          <a:xfrm>
            <a:off x="7250198" y="2506710"/>
            <a:ext cx="2076335" cy="565022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en-US" altLang="zh-CN" dirty="0">
                <a:solidFill>
                  <a:srgbClr val="FFFFFF"/>
                </a:solidFill>
                <a:cs typeface="+mn-ea"/>
                <a:sym typeface="+mn-lt"/>
              </a:rPr>
              <a:t>…text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4DEEBDE-4EB5-4966-99E4-7BDD30607B6B}"/>
              </a:ext>
            </a:extLst>
          </p:cNvPr>
          <p:cNvSpPr/>
          <p:nvPr/>
        </p:nvSpPr>
        <p:spPr bwMode="auto">
          <a:xfrm>
            <a:off x="7250198" y="3237239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72F00BB7-E0BD-4B23-896E-970CEC1F71F7}"/>
              </a:ext>
            </a:extLst>
          </p:cNvPr>
          <p:cNvSpPr/>
          <p:nvPr/>
        </p:nvSpPr>
        <p:spPr bwMode="auto">
          <a:xfrm>
            <a:off x="7250198" y="4108857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7C01864C-8332-4C08-A3F3-DBF15707DE8A}"/>
              </a:ext>
            </a:extLst>
          </p:cNvPr>
          <p:cNvSpPr/>
          <p:nvPr/>
        </p:nvSpPr>
        <p:spPr>
          <a:xfrm>
            <a:off x="9442565" y="2506710"/>
            <a:ext cx="2076335" cy="565022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en-US" altLang="zh-CN" dirty="0">
                <a:solidFill>
                  <a:srgbClr val="FFFFFF"/>
                </a:solidFill>
                <a:cs typeface="+mn-ea"/>
                <a:sym typeface="+mn-lt"/>
              </a:rPr>
              <a:t>…text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56446697-26F6-4469-8A68-04B41C9A89AD}"/>
              </a:ext>
            </a:extLst>
          </p:cNvPr>
          <p:cNvSpPr/>
          <p:nvPr/>
        </p:nvSpPr>
        <p:spPr bwMode="auto">
          <a:xfrm>
            <a:off x="9442565" y="3237239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49C2010-E0AF-4025-B15E-289075572613}"/>
              </a:ext>
            </a:extLst>
          </p:cNvPr>
          <p:cNvSpPr/>
          <p:nvPr/>
        </p:nvSpPr>
        <p:spPr bwMode="auto">
          <a:xfrm>
            <a:off x="9442565" y="4108857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E383BC8-F8EA-418E-B2FF-B119B8BF5316}"/>
              </a:ext>
            </a:extLst>
          </p:cNvPr>
          <p:cNvSpPr/>
          <p:nvPr/>
        </p:nvSpPr>
        <p:spPr bwMode="auto">
          <a:xfrm>
            <a:off x="9442565" y="4980475"/>
            <a:ext cx="207633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59CC844C-6915-484F-879D-6E8ABEC2C836}"/>
              </a:ext>
            </a:extLst>
          </p:cNvPr>
          <p:cNvCxnSpPr/>
          <p:nvPr/>
        </p:nvCxnSpPr>
        <p:spPr>
          <a:xfrm>
            <a:off x="4999817" y="3240414"/>
            <a:ext cx="0" cy="290638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9A065029-CC49-46E7-A36E-E7761CACD7DF}"/>
              </a:ext>
            </a:extLst>
          </p:cNvPr>
          <p:cNvCxnSpPr/>
          <p:nvPr/>
        </p:nvCxnSpPr>
        <p:spPr>
          <a:xfrm>
            <a:off x="7192183" y="3240414"/>
            <a:ext cx="0" cy="290638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874E652E-EC74-4149-8A81-0B13B6422AD1}"/>
              </a:ext>
            </a:extLst>
          </p:cNvPr>
          <p:cNvCxnSpPr/>
          <p:nvPr/>
        </p:nvCxnSpPr>
        <p:spPr>
          <a:xfrm>
            <a:off x="9384548" y="3240414"/>
            <a:ext cx="0" cy="290638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箭头: 右 14">
            <a:extLst>
              <a:ext uri="{FF2B5EF4-FFF2-40B4-BE49-F238E27FC236}">
                <a16:creationId xmlns:a16="http://schemas.microsoft.com/office/drawing/2014/main" id="{5ECAF1F0-5432-4417-8BF1-335AFE0959A8}"/>
              </a:ext>
            </a:extLst>
          </p:cNvPr>
          <p:cNvSpPr/>
          <p:nvPr/>
        </p:nvSpPr>
        <p:spPr>
          <a:xfrm>
            <a:off x="2175717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125476BA-4C39-475D-88E3-6D20046B963D}"/>
              </a:ext>
            </a:extLst>
          </p:cNvPr>
          <p:cNvSpPr/>
          <p:nvPr/>
        </p:nvSpPr>
        <p:spPr bwMode="auto">
          <a:xfrm>
            <a:off x="1406425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箭头: 右 16">
            <a:extLst>
              <a:ext uri="{FF2B5EF4-FFF2-40B4-BE49-F238E27FC236}">
                <a16:creationId xmlns:a16="http://schemas.microsoft.com/office/drawing/2014/main" id="{C45B8296-4C8C-4AE6-8421-4D61542AA964}"/>
              </a:ext>
            </a:extLst>
          </p:cNvPr>
          <p:cNvSpPr/>
          <p:nvPr/>
        </p:nvSpPr>
        <p:spPr>
          <a:xfrm>
            <a:off x="4368083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BCB10BAD-FF89-4A34-9F12-14C214D8594A}"/>
              </a:ext>
            </a:extLst>
          </p:cNvPr>
          <p:cNvSpPr/>
          <p:nvPr/>
        </p:nvSpPr>
        <p:spPr bwMode="auto">
          <a:xfrm>
            <a:off x="3598791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箭头: 右 18">
            <a:extLst>
              <a:ext uri="{FF2B5EF4-FFF2-40B4-BE49-F238E27FC236}">
                <a16:creationId xmlns:a16="http://schemas.microsoft.com/office/drawing/2014/main" id="{ACACEF64-00B6-4650-8BD2-2E340603BCAF}"/>
              </a:ext>
            </a:extLst>
          </p:cNvPr>
          <p:cNvSpPr/>
          <p:nvPr/>
        </p:nvSpPr>
        <p:spPr>
          <a:xfrm>
            <a:off x="6560449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B8C36940-0150-42E2-BC1B-DA6911A6AC43}"/>
              </a:ext>
            </a:extLst>
          </p:cNvPr>
          <p:cNvSpPr/>
          <p:nvPr/>
        </p:nvSpPr>
        <p:spPr bwMode="auto">
          <a:xfrm>
            <a:off x="5791157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箭头: 右 20">
            <a:extLst>
              <a:ext uri="{FF2B5EF4-FFF2-40B4-BE49-F238E27FC236}">
                <a16:creationId xmlns:a16="http://schemas.microsoft.com/office/drawing/2014/main" id="{A057167F-FE7E-4AD7-94A9-12303C31AE55}"/>
              </a:ext>
            </a:extLst>
          </p:cNvPr>
          <p:cNvSpPr/>
          <p:nvPr/>
        </p:nvSpPr>
        <p:spPr>
          <a:xfrm>
            <a:off x="8752815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96F3BE9-2695-415F-889F-45311FC1D183}"/>
              </a:ext>
            </a:extLst>
          </p:cNvPr>
          <p:cNvSpPr/>
          <p:nvPr/>
        </p:nvSpPr>
        <p:spPr bwMode="auto">
          <a:xfrm>
            <a:off x="7983523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箭头: 右 22">
            <a:extLst>
              <a:ext uri="{FF2B5EF4-FFF2-40B4-BE49-F238E27FC236}">
                <a16:creationId xmlns:a16="http://schemas.microsoft.com/office/drawing/2014/main" id="{5E3CD7B5-F0DB-4DAC-8A47-736F3E01C2CE}"/>
              </a:ext>
            </a:extLst>
          </p:cNvPr>
          <p:cNvSpPr/>
          <p:nvPr/>
        </p:nvSpPr>
        <p:spPr>
          <a:xfrm>
            <a:off x="10945182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D1133C76-B93A-4F8C-9A38-CB654A269931}"/>
              </a:ext>
            </a:extLst>
          </p:cNvPr>
          <p:cNvSpPr/>
          <p:nvPr/>
        </p:nvSpPr>
        <p:spPr bwMode="auto">
          <a:xfrm>
            <a:off x="10175890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37033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7ED2073-F703-4EB6-8829-644AE5B89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70C00ED-550E-462B-B347-0131F33E0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0A3B0B-D597-43F7-8BC7-A24DAEEAD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8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连接符: 肘形 5">
            <a:extLst>
              <a:ext uri="{FF2B5EF4-FFF2-40B4-BE49-F238E27FC236}">
                <a16:creationId xmlns:a16="http://schemas.microsoft.com/office/drawing/2014/main" id="{3CA99D00-668B-4C6B-94DA-7AE2D60D039F}"/>
              </a:ext>
            </a:extLst>
          </p:cNvPr>
          <p:cNvCxnSpPr/>
          <p:nvPr/>
        </p:nvCxnSpPr>
        <p:spPr>
          <a:xfrm rot="16200000" flipV="1">
            <a:off x="3694346" y="4339117"/>
            <a:ext cx="1001888" cy="755693"/>
          </a:xfrm>
          <a:prstGeom prst="bentConnector3">
            <a:avLst>
              <a:gd name="adj1" fmla="val 63"/>
            </a:avLst>
          </a:prstGeom>
          <a:ln w="19050">
            <a:solidFill>
              <a:schemeClr val="accent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连接符: 肘形 6">
            <a:extLst>
              <a:ext uri="{FF2B5EF4-FFF2-40B4-BE49-F238E27FC236}">
                <a16:creationId xmlns:a16="http://schemas.microsoft.com/office/drawing/2014/main" id="{64D1DC5D-78E5-411A-B32D-F278BFD6F131}"/>
              </a:ext>
            </a:extLst>
          </p:cNvPr>
          <p:cNvCxnSpPr/>
          <p:nvPr/>
        </p:nvCxnSpPr>
        <p:spPr>
          <a:xfrm rot="10800000">
            <a:off x="1538887" y="4216020"/>
            <a:ext cx="3034255" cy="1442718"/>
          </a:xfrm>
          <a:prstGeom prst="bentConnector2">
            <a:avLst/>
          </a:prstGeom>
          <a:ln w="19050">
            <a:solidFill>
              <a:schemeClr val="accent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连接符: 肘形 7">
            <a:extLst>
              <a:ext uri="{FF2B5EF4-FFF2-40B4-BE49-F238E27FC236}">
                <a16:creationId xmlns:a16="http://schemas.microsoft.com/office/drawing/2014/main" id="{E41ADA0D-A217-4838-819B-8CBF2ADF2223}"/>
              </a:ext>
            </a:extLst>
          </p:cNvPr>
          <p:cNvCxnSpPr/>
          <p:nvPr/>
        </p:nvCxnSpPr>
        <p:spPr>
          <a:xfrm rot="5400000" flipH="1" flipV="1">
            <a:off x="7495768" y="4339118"/>
            <a:ext cx="1001888" cy="755693"/>
          </a:xfrm>
          <a:prstGeom prst="bentConnector3">
            <a:avLst>
              <a:gd name="adj1" fmla="val 63"/>
            </a:avLst>
          </a:prstGeom>
          <a:ln w="19050">
            <a:solidFill>
              <a:schemeClr val="accent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连接符: 肘形 8">
            <a:extLst>
              <a:ext uri="{FF2B5EF4-FFF2-40B4-BE49-F238E27FC236}">
                <a16:creationId xmlns:a16="http://schemas.microsoft.com/office/drawing/2014/main" id="{BEB7AA81-D35E-4E0D-837A-7ECB3E5F2AB8}"/>
              </a:ext>
            </a:extLst>
          </p:cNvPr>
          <p:cNvCxnSpPr/>
          <p:nvPr/>
        </p:nvCxnSpPr>
        <p:spPr>
          <a:xfrm rot="10800000" flipH="1">
            <a:off x="7618867" y="4216021"/>
            <a:ext cx="3034255" cy="1442718"/>
          </a:xfrm>
          <a:prstGeom prst="bentConnector2">
            <a:avLst/>
          </a:prstGeom>
          <a:ln w="19050">
            <a:solidFill>
              <a:schemeClr val="accent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连接符: 肘形 9">
            <a:extLst>
              <a:ext uri="{FF2B5EF4-FFF2-40B4-BE49-F238E27FC236}">
                <a16:creationId xmlns:a16="http://schemas.microsoft.com/office/drawing/2014/main" id="{D38122E8-E0F9-4208-A42F-E100EC514DBE}"/>
              </a:ext>
            </a:extLst>
          </p:cNvPr>
          <p:cNvCxnSpPr/>
          <p:nvPr/>
        </p:nvCxnSpPr>
        <p:spPr>
          <a:xfrm rot="5400000">
            <a:off x="3694346" y="2213530"/>
            <a:ext cx="1001888" cy="755693"/>
          </a:xfrm>
          <a:prstGeom prst="bentConnector3">
            <a:avLst>
              <a:gd name="adj1" fmla="val 63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>
            <a:extLst>
              <a:ext uri="{FF2B5EF4-FFF2-40B4-BE49-F238E27FC236}">
                <a16:creationId xmlns:a16="http://schemas.microsoft.com/office/drawing/2014/main" id="{6624EAF8-850C-41E5-8D6B-0F08B9A6A63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538887" y="1649603"/>
            <a:ext cx="3034255" cy="1442718"/>
          </a:xfrm>
          <a:prstGeom prst="bent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连接符: 肘形 11">
            <a:extLst>
              <a:ext uri="{FF2B5EF4-FFF2-40B4-BE49-F238E27FC236}">
                <a16:creationId xmlns:a16="http://schemas.microsoft.com/office/drawing/2014/main" id="{796F4F39-1BEB-4683-8AB9-6549A8FD8FA5}"/>
              </a:ext>
            </a:extLst>
          </p:cNvPr>
          <p:cNvCxnSpPr/>
          <p:nvPr/>
        </p:nvCxnSpPr>
        <p:spPr>
          <a:xfrm rot="16200000" flipH="1">
            <a:off x="7495768" y="2213529"/>
            <a:ext cx="1001888" cy="755693"/>
          </a:xfrm>
          <a:prstGeom prst="bentConnector3">
            <a:avLst>
              <a:gd name="adj1" fmla="val 63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连接符: 肘形 12">
            <a:extLst>
              <a:ext uri="{FF2B5EF4-FFF2-40B4-BE49-F238E27FC236}">
                <a16:creationId xmlns:a16="http://schemas.microsoft.com/office/drawing/2014/main" id="{4FEEE011-390F-4773-BC0C-F5B7DF39DCB8}"/>
              </a:ext>
            </a:extLst>
          </p:cNvPr>
          <p:cNvCxnSpPr/>
          <p:nvPr/>
        </p:nvCxnSpPr>
        <p:spPr>
          <a:xfrm rot="10800000" flipH="1" flipV="1">
            <a:off x="7618867" y="1649601"/>
            <a:ext cx="3034255" cy="1442718"/>
          </a:xfrm>
          <a:prstGeom prst="bent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59854DCD-5CE0-4133-AAE1-3E6F9B344936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6096001" y="2323145"/>
            <a:ext cx="1" cy="770763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CF882D20-80F9-4B52-AC99-1A21A71347B0}"/>
              </a:ext>
            </a:extLst>
          </p:cNvPr>
          <p:cNvSpPr/>
          <p:nvPr/>
        </p:nvSpPr>
        <p:spPr>
          <a:xfrm>
            <a:off x="4543427" y="4986779"/>
            <a:ext cx="3105148" cy="89014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>
                <a:cs typeface="+mn-ea"/>
                <a:sym typeface="+mn-lt"/>
              </a:rPr>
              <a:t>…text</a:t>
            </a: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B66442C7-7D66-46E4-BD28-5A752334CC8E}"/>
              </a:ext>
            </a:extLst>
          </p:cNvPr>
          <p:cNvSpPr/>
          <p:nvPr/>
        </p:nvSpPr>
        <p:spPr>
          <a:xfrm>
            <a:off x="4543427" y="1432999"/>
            <a:ext cx="3105148" cy="89014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>
                <a:cs typeface="+mn-ea"/>
                <a:sym typeface="+mn-lt"/>
              </a:rPr>
              <a:t>…text</a:t>
            </a:r>
            <a:endParaRPr>
              <a:cs typeface="+mn-ea"/>
              <a:sym typeface="+mn-lt"/>
            </a:endParaRPr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5CF177FC-18CA-4CED-829F-FDC563A6807C}"/>
              </a:ext>
            </a:extLst>
          </p:cNvPr>
          <p:cNvCxnSpPr>
            <a:cxnSpLocks/>
            <a:endCxn id="20" idx="0"/>
          </p:cNvCxnSpPr>
          <p:nvPr/>
        </p:nvCxnSpPr>
        <p:spPr>
          <a:xfrm>
            <a:off x="6096001" y="4202764"/>
            <a:ext cx="0" cy="784015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E408C793-50B5-173F-DE92-9DCAE4180202}"/>
              </a:ext>
            </a:extLst>
          </p:cNvPr>
          <p:cNvGrpSpPr/>
          <p:nvPr/>
        </p:nvGrpSpPr>
        <p:grpSpPr>
          <a:xfrm>
            <a:off x="657225" y="3093907"/>
            <a:ext cx="1763319" cy="1122112"/>
            <a:chOff x="657225" y="3093907"/>
            <a:chExt cx="1763319" cy="1122112"/>
          </a:xfrm>
        </p:grpSpPr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1833449A-D342-4BAD-A178-302916F5022D}"/>
                </a:ext>
              </a:extLst>
            </p:cNvPr>
            <p:cNvSpPr/>
            <p:nvPr/>
          </p:nvSpPr>
          <p:spPr>
            <a:xfrm>
              <a:off x="657225" y="3093907"/>
              <a:ext cx="1763319" cy="11221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2875896-0D71-4F64-A518-247AE363B015}"/>
                </a:ext>
              </a:extLst>
            </p:cNvPr>
            <p:cNvSpPr/>
            <p:nvPr/>
          </p:nvSpPr>
          <p:spPr bwMode="auto">
            <a:xfrm>
              <a:off x="1353166" y="3248026"/>
              <a:ext cx="371436" cy="348620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948ECF70-6102-4599-9CC7-2A3234B24C74}"/>
                </a:ext>
              </a:extLst>
            </p:cNvPr>
            <p:cNvSpPr/>
            <p:nvPr/>
          </p:nvSpPr>
          <p:spPr>
            <a:xfrm>
              <a:off x="814984" y="3627712"/>
              <a:ext cx="1447800" cy="4303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6800" rIns="90000" bIns="4680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400"/>
              <a:r>
                <a:rPr lang="en-US" altLang="zh-CN" sz="1400" b="1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EA71E054-AAF2-B77B-EB60-39132CD073C4}"/>
              </a:ext>
            </a:extLst>
          </p:cNvPr>
          <p:cNvGrpSpPr/>
          <p:nvPr/>
        </p:nvGrpSpPr>
        <p:grpSpPr>
          <a:xfrm>
            <a:off x="2935783" y="3093907"/>
            <a:ext cx="1763319" cy="1122112"/>
            <a:chOff x="2935783" y="3093907"/>
            <a:chExt cx="1763319" cy="1122112"/>
          </a:xfrm>
        </p:grpSpPr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A3C2DD75-9F84-4CA6-B72F-30ED54E3E6A9}"/>
                </a:ext>
              </a:extLst>
            </p:cNvPr>
            <p:cNvSpPr/>
            <p:nvPr/>
          </p:nvSpPr>
          <p:spPr>
            <a:xfrm>
              <a:off x="2935783" y="3093907"/>
              <a:ext cx="1763319" cy="11221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0D619B4-BECF-499E-9DEA-4CE22BBEC0F8}"/>
                </a:ext>
              </a:extLst>
            </p:cNvPr>
            <p:cNvSpPr/>
            <p:nvPr/>
          </p:nvSpPr>
          <p:spPr bwMode="auto">
            <a:xfrm>
              <a:off x="3631724" y="3248026"/>
              <a:ext cx="371436" cy="348620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CB6C1F51-ABAA-4876-AE4B-7DACF90B7B14}"/>
                </a:ext>
              </a:extLst>
            </p:cNvPr>
            <p:cNvSpPr/>
            <p:nvPr/>
          </p:nvSpPr>
          <p:spPr>
            <a:xfrm>
              <a:off x="3093542" y="3627712"/>
              <a:ext cx="1447800" cy="4303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6800" rIns="90000" bIns="4680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400"/>
              <a:r>
                <a:rPr lang="en-US" altLang="zh-CN" sz="1400" b="1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AC911E8F-215A-E314-19E7-7251CAE15D99}"/>
              </a:ext>
            </a:extLst>
          </p:cNvPr>
          <p:cNvGrpSpPr/>
          <p:nvPr/>
        </p:nvGrpSpPr>
        <p:grpSpPr>
          <a:xfrm>
            <a:off x="5214341" y="3093907"/>
            <a:ext cx="1763319" cy="1122112"/>
            <a:chOff x="5214341" y="3093907"/>
            <a:chExt cx="1763319" cy="1122112"/>
          </a:xfrm>
        </p:grpSpPr>
        <p:sp>
          <p:nvSpPr>
            <p:cNvPr id="17" name="矩形: 圆角 16">
              <a:extLst>
                <a:ext uri="{FF2B5EF4-FFF2-40B4-BE49-F238E27FC236}">
                  <a16:creationId xmlns:a16="http://schemas.microsoft.com/office/drawing/2014/main" id="{2F27C43D-62F4-4483-B401-39FCE086CD17}"/>
                </a:ext>
              </a:extLst>
            </p:cNvPr>
            <p:cNvSpPr/>
            <p:nvPr/>
          </p:nvSpPr>
          <p:spPr>
            <a:xfrm>
              <a:off x="5214341" y="3093907"/>
              <a:ext cx="1763319" cy="11221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21CC644D-AB51-4A6A-AD93-CF6A7809D0F1}"/>
                </a:ext>
              </a:extLst>
            </p:cNvPr>
            <p:cNvSpPr/>
            <p:nvPr/>
          </p:nvSpPr>
          <p:spPr bwMode="auto">
            <a:xfrm>
              <a:off x="5910282" y="3248026"/>
              <a:ext cx="371436" cy="348620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6A785C04-ACD6-4704-9995-244BD69273FC}"/>
                </a:ext>
              </a:extLst>
            </p:cNvPr>
            <p:cNvSpPr/>
            <p:nvPr/>
          </p:nvSpPr>
          <p:spPr>
            <a:xfrm>
              <a:off x="5372100" y="3627712"/>
              <a:ext cx="1447800" cy="4303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6800" rIns="90000" bIns="4680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400"/>
              <a:r>
                <a:rPr lang="en-US" altLang="zh-CN" sz="1400" b="1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A20A94C6-2600-C19C-4A8B-F7FB4B94B014}"/>
              </a:ext>
            </a:extLst>
          </p:cNvPr>
          <p:cNvGrpSpPr/>
          <p:nvPr/>
        </p:nvGrpSpPr>
        <p:grpSpPr>
          <a:xfrm>
            <a:off x="7492899" y="3093907"/>
            <a:ext cx="1763319" cy="1122112"/>
            <a:chOff x="7492899" y="3093907"/>
            <a:chExt cx="1763319" cy="1122112"/>
          </a:xfrm>
        </p:grpSpPr>
        <p:sp>
          <p:nvSpPr>
            <p:cNvPr id="18" name="矩形: 圆角 17">
              <a:extLst>
                <a:ext uri="{FF2B5EF4-FFF2-40B4-BE49-F238E27FC236}">
                  <a16:creationId xmlns:a16="http://schemas.microsoft.com/office/drawing/2014/main" id="{4D93D72F-B519-41A0-B829-11DD4DB92546}"/>
                </a:ext>
              </a:extLst>
            </p:cNvPr>
            <p:cNvSpPr/>
            <p:nvPr/>
          </p:nvSpPr>
          <p:spPr>
            <a:xfrm>
              <a:off x="7492899" y="3093907"/>
              <a:ext cx="1763319" cy="11221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80F7A96-CEC5-4FF1-A562-905492828A80}"/>
                </a:ext>
              </a:extLst>
            </p:cNvPr>
            <p:cNvSpPr/>
            <p:nvPr/>
          </p:nvSpPr>
          <p:spPr bwMode="auto">
            <a:xfrm>
              <a:off x="8188840" y="3248026"/>
              <a:ext cx="371436" cy="348620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734D4E1D-12E2-4C09-8A36-33DB977CC95F}"/>
                </a:ext>
              </a:extLst>
            </p:cNvPr>
            <p:cNvSpPr/>
            <p:nvPr/>
          </p:nvSpPr>
          <p:spPr>
            <a:xfrm>
              <a:off x="7650658" y="3627712"/>
              <a:ext cx="1447800" cy="4303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6800" rIns="90000" bIns="4680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400"/>
              <a:r>
                <a:rPr lang="en-US" altLang="zh-CN" sz="1400" b="1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960978D-1E80-F77F-8B6C-2BD752863301}"/>
              </a:ext>
            </a:extLst>
          </p:cNvPr>
          <p:cNvGrpSpPr/>
          <p:nvPr/>
        </p:nvGrpSpPr>
        <p:grpSpPr>
          <a:xfrm>
            <a:off x="9771456" y="3093907"/>
            <a:ext cx="1763319" cy="1122112"/>
            <a:chOff x="9771456" y="3093907"/>
            <a:chExt cx="1763319" cy="1122112"/>
          </a:xfrm>
        </p:grpSpPr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942D5C8D-A5E1-447F-A271-273370687038}"/>
                </a:ext>
              </a:extLst>
            </p:cNvPr>
            <p:cNvSpPr/>
            <p:nvPr/>
          </p:nvSpPr>
          <p:spPr>
            <a:xfrm>
              <a:off x="9771456" y="3093907"/>
              <a:ext cx="1763319" cy="11221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2084FBD-098E-4D1B-8C0B-307A84AFD144}"/>
                </a:ext>
              </a:extLst>
            </p:cNvPr>
            <p:cNvSpPr/>
            <p:nvPr/>
          </p:nvSpPr>
          <p:spPr bwMode="auto">
            <a:xfrm>
              <a:off x="10467397" y="3248026"/>
              <a:ext cx="371436" cy="348620"/>
            </a:xfrm>
            <a:custGeom>
              <a:avLst/>
              <a:gdLst>
                <a:gd name="connsiteX0" fmla="*/ 171677 w 606580"/>
                <a:gd name="connsiteY0" fmla="*/ 318744 h 569322"/>
                <a:gd name="connsiteX1" fmla="*/ 228500 w 606580"/>
                <a:gd name="connsiteY1" fmla="*/ 375386 h 569322"/>
                <a:gd name="connsiteX2" fmla="*/ 227108 w 606580"/>
                <a:gd name="connsiteY2" fmla="*/ 387623 h 569322"/>
                <a:gd name="connsiteX3" fmla="*/ 356167 w 606580"/>
                <a:gd name="connsiteY3" fmla="*/ 468739 h 569322"/>
                <a:gd name="connsiteX4" fmla="*/ 391728 w 606580"/>
                <a:gd name="connsiteY4" fmla="*/ 455945 h 569322"/>
                <a:gd name="connsiteX5" fmla="*/ 419490 w 606580"/>
                <a:gd name="connsiteY5" fmla="*/ 463454 h 569322"/>
                <a:gd name="connsiteX6" fmla="*/ 497019 w 606580"/>
                <a:gd name="connsiteY6" fmla="*/ 395874 h 569322"/>
                <a:gd name="connsiteX7" fmla="*/ 493026 w 606580"/>
                <a:gd name="connsiteY7" fmla="*/ 375386 h 569322"/>
                <a:gd name="connsiteX8" fmla="*/ 549849 w 606580"/>
                <a:gd name="connsiteY8" fmla="*/ 318744 h 569322"/>
                <a:gd name="connsiteX9" fmla="*/ 606580 w 606580"/>
                <a:gd name="connsiteY9" fmla="*/ 375386 h 569322"/>
                <a:gd name="connsiteX10" fmla="*/ 549849 w 606580"/>
                <a:gd name="connsiteY10" fmla="*/ 432121 h 569322"/>
                <a:gd name="connsiteX11" fmla="*/ 521809 w 606580"/>
                <a:gd name="connsiteY11" fmla="*/ 424519 h 569322"/>
                <a:gd name="connsiteX12" fmla="*/ 444466 w 606580"/>
                <a:gd name="connsiteY12" fmla="*/ 491915 h 569322"/>
                <a:gd name="connsiteX13" fmla="*/ 448459 w 606580"/>
                <a:gd name="connsiteY13" fmla="*/ 512587 h 569322"/>
                <a:gd name="connsiteX14" fmla="*/ 391728 w 606580"/>
                <a:gd name="connsiteY14" fmla="*/ 569322 h 569322"/>
                <a:gd name="connsiteX15" fmla="*/ 334905 w 606580"/>
                <a:gd name="connsiteY15" fmla="*/ 512587 h 569322"/>
                <a:gd name="connsiteX16" fmla="*/ 336112 w 606580"/>
                <a:gd name="connsiteY16" fmla="*/ 500907 h 569322"/>
                <a:gd name="connsiteX17" fmla="*/ 206867 w 606580"/>
                <a:gd name="connsiteY17" fmla="*/ 419606 h 569322"/>
                <a:gd name="connsiteX18" fmla="*/ 171677 w 606580"/>
                <a:gd name="connsiteY18" fmla="*/ 432121 h 569322"/>
                <a:gd name="connsiteX19" fmla="*/ 152736 w 606580"/>
                <a:gd name="connsiteY19" fmla="*/ 428598 h 569322"/>
                <a:gd name="connsiteX20" fmla="*/ 105847 w 606580"/>
                <a:gd name="connsiteY20" fmla="*/ 484498 h 569322"/>
                <a:gd name="connsiteX21" fmla="*/ 113554 w 606580"/>
                <a:gd name="connsiteY21" fmla="*/ 512587 h 569322"/>
                <a:gd name="connsiteX22" fmla="*/ 56823 w 606580"/>
                <a:gd name="connsiteY22" fmla="*/ 569322 h 569322"/>
                <a:gd name="connsiteX23" fmla="*/ 0 w 606580"/>
                <a:gd name="connsiteY23" fmla="*/ 512587 h 569322"/>
                <a:gd name="connsiteX24" fmla="*/ 56823 w 606580"/>
                <a:gd name="connsiteY24" fmla="*/ 455945 h 569322"/>
                <a:gd name="connsiteX25" fmla="*/ 77157 w 606580"/>
                <a:gd name="connsiteY25" fmla="*/ 459839 h 569322"/>
                <a:gd name="connsiteX26" fmla="*/ 123303 w 606580"/>
                <a:gd name="connsiteY26" fmla="*/ 404773 h 569322"/>
                <a:gd name="connsiteX27" fmla="*/ 114854 w 606580"/>
                <a:gd name="connsiteY27" fmla="*/ 375386 h 569322"/>
                <a:gd name="connsiteX28" fmla="*/ 171677 w 606580"/>
                <a:gd name="connsiteY28" fmla="*/ 318744 h 569322"/>
                <a:gd name="connsiteX29" fmla="*/ 316484 w 606580"/>
                <a:gd name="connsiteY29" fmla="*/ 174937 h 569322"/>
                <a:gd name="connsiteX30" fmla="*/ 316577 w 606580"/>
                <a:gd name="connsiteY30" fmla="*/ 174991 h 569322"/>
                <a:gd name="connsiteX31" fmla="*/ 316577 w 606580"/>
                <a:gd name="connsiteY31" fmla="*/ 243818 h 569322"/>
                <a:gd name="connsiteX32" fmla="*/ 338115 w 606580"/>
                <a:gd name="connsiteY32" fmla="*/ 231488 h 569322"/>
                <a:gd name="connsiteX33" fmla="*/ 346378 w 606580"/>
                <a:gd name="connsiteY33" fmla="*/ 208497 h 569322"/>
                <a:gd name="connsiteX34" fmla="*/ 339415 w 606580"/>
                <a:gd name="connsiteY34" fmla="*/ 188102 h 569322"/>
                <a:gd name="connsiteX35" fmla="*/ 316577 w 606580"/>
                <a:gd name="connsiteY35" fmla="*/ 174991 h 569322"/>
                <a:gd name="connsiteX36" fmla="*/ 316577 w 606580"/>
                <a:gd name="connsiteY36" fmla="*/ 174937 h 569322"/>
                <a:gd name="connsiteX37" fmla="*/ 290954 w 606580"/>
                <a:gd name="connsiteY37" fmla="*/ 55995 h 569322"/>
                <a:gd name="connsiteX38" fmla="*/ 274243 w 606580"/>
                <a:gd name="connsiteY38" fmla="*/ 67954 h 569322"/>
                <a:gd name="connsiteX39" fmla="*/ 268116 w 606580"/>
                <a:gd name="connsiteY39" fmla="*/ 86681 h 569322"/>
                <a:gd name="connsiteX40" fmla="*/ 273779 w 606580"/>
                <a:gd name="connsiteY40" fmla="*/ 104109 h 569322"/>
                <a:gd name="connsiteX41" fmla="*/ 290954 w 606580"/>
                <a:gd name="connsiteY41" fmla="*/ 117088 h 569322"/>
                <a:gd name="connsiteX42" fmla="*/ 290861 w 606580"/>
                <a:gd name="connsiteY42" fmla="*/ 0 h 569322"/>
                <a:gd name="connsiteX43" fmla="*/ 316484 w 606580"/>
                <a:gd name="connsiteY43" fmla="*/ 0 h 569322"/>
                <a:gd name="connsiteX44" fmla="*/ 316484 w 606580"/>
                <a:gd name="connsiteY44" fmla="*/ 17522 h 569322"/>
                <a:gd name="connsiteX45" fmla="*/ 361232 w 606580"/>
                <a:gd name="connsiteY45" fmla="*/ 36619 h 569322"/>
                <a:gd name="connsiteX46" fmla="*/ 382492 w 606580"/>
                <a:gd name="connsiteY46" fmla="*/ 78893 h 569322"/>
                <a:gd name="connsiteX47" fmla="*/ 337744 w 606580"/>
                <a:gd name="connsiteY47" fmla="*/ 84734 h 569322"/>
                <a:gd name="connsiteX48" fmla="*/ 316484 w 606580"/>
                <a:gd name="connsiteY48" fmla="*/ 56458 h 569322"/>
                <a:gd name="connsiteX49" fmla="*/ 316484 w 606580"/>
                <a:gd name="connsiteY49" fmla="*/ 125525 h 569322"/>
                <a:gd name="connsiteX50" fmla="*/ 374322 w 606580"/>
                <a:gd name="connsiteY50" fmla="*/ 155283 h 569322"/>
                <a:gd name="connsiteX51" fmla="*/ 389733 w 606580"/>
                <a:gd name="connsiteY51" fmla="*/ 202193 h 569322"/>
                <a:gd name="connsiteX52" fmla="*/ 370330 w 606580"/>
                <a:gd name="connsiteY52" fmla="*/ 255963 h 569322"/>
                <a:gd name="connsiteX53" fmla="*/ 316484 w 606580"/>
                <a:gd name="connsiteY53" fmla="*/ 282755 h 569322"/>
                <a:gd name="connsiteX54" fmla="*/ 316484 w 606580"/>
                <a:gd name="connsiteY54" fmla="*/ 315851 h 569322"/>
                <a:gd name="connsiteX55" fmla="*/ 290861 w 606580"/>
                <a:gd name="connsiteY55" fmla="*/ 315851 h 569322"/>
                <a:gd name="connsiteX56" fmla="*/ 290861 w 606580"/>
                <a:gd name="connsiteY56" fmla="*/ 283682 h 569322"/>
                <a:gd name="connsiteX57" fmla="*/ 241193 w 606580"/>
                <a:gd name="connsiteY57" fmla="*/ 260876 h 569322"/>
                <a:gd name="connsiteX58" fmla="*/ 216777 w 606580"/>
                <a:gd name="connsiteY58" fmla="*/ 207106 h 569322"/>
                <a:gd name="connsiteX59" fmla="*/ 262917 w 606580"/>
                <a:gd name="connsiteY59" fmla="*/ 202100 h 569322"/>
                <a:gd name="connsiteX60" fmla="*/ 273593 w 606580"/>
                <a:gd name="connsiteY60" fmla="*/ 226482 h 569322"/>
                <a:gd name="connsiteX61" fmla="*/ 290861 w 606580"/>
                <a:gd name="connsiteY61" fmla="*/ 241315 h 569322"/>
                <a:gd name="connsiteX62" fmla="*/ 290861 w 606580"/>
                <a:gd name="connsiteY62" fmla="*/ 167335 h 569322"/>
                <a:gd name="connsiteX63" fmla="*/ 240079 w 606580"/>
                <a:gd name="connsiteY63" fmla="*/ 137484 h 569322"/>
                <a:gd name="connsiteX64" fmla="*/ 223833 w 606580"/>
                <a:gd name="connsiteY64" fmla="*/ 88813 h 569322"/>
                <a:gd name="connsiteX65" fmla="*/ 242214 w 606580"/>
                <a:gd name="connsiteY65" fmla="*/ 40142 h 569322"/>
                <a:gd name="connsiteX66" fmla="*/ 290861 w 606580"/>
                <a:gd name="connsiteY66" fmla="*/ 17522 h 5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606580" h="569322">
                  <a:moveTo>
                    <a:pt x="171677" y="318744"/>
                  </a:moveTo>
                  <a:cubicBezTo>
                    <a:pt x="203060" y="318744"/>
                    <a:pt x="228500" y="344145"/>
                    <a:pt x="228500" y="375386"/>
                  </a:cubicBezTo>
                  <a:cubicBezTo>
                    <a:pt x="228500" y="379650"/>
                    <a:pt x="227943" y="383729"/>
                    <a:pt x="227108" y="387623"/>
                  </a:cubicBezTo>
                  <a:lnTo>
                    <a:pt x="356167" y="468739"/>
                  </a:lnTo>
                  <a:cubicBezTo>
                    <a:pt x="365916" y="460859"/>
                    <a:pt x="378172" y="455945"/>
                    <a:pt x="391728" y="455945"/>
                  </a:cubicBezTo>
                  <a:cubicBezTo>
                    <a:pt x="401849" y="455945"/>
                    <a:pt x="411227" y="458819"/>
                    <a:pt x="419490" y="463454"/>
                  </a:cubicBezTo>
                  <a:lnTo>
                    <a:pt x="497019" y="395874"/>
                  </a:lnTo>
                  <a:cubicBezTo>
                    <a:pt x="494512" y="389570"/>
                    <a:pt x="493026" y="382617"/>
                    <a:pt x="493026" y="375386"/>
                  </a:cubicBezTo>
                  <a:cubicBezTo>
                    <a:pt x="493026" y="344052"/>
                    <a:pt x="518467" y="318744"/>
                    <a:pt x="549849" y="318744"/>
                  </a:cubicBezTo>
                  <a:cubicBezTo>
                    <a:pt x="581232" y="318744"/>
                    <a:pt x="606580" y="344052"/>
                    <a:pt x="606580" y="375386"/>
                  </a:cubicBezTo>
                  <a:cubicBezTo>
                    <a:pt x="606580" y="406720"/>
                    <a:pt x="581232" y="432121"/>
                    <a:pt x="549849" y="432121"/>
                  </a:cubicBezTo>
                  <a:cubicBezTo>
                    <a:pt x="539636" y="432121"/>
                    <a:pt x="530166" y="429154"/>
                    <a:pt x="521809" y="424519"/>
                  </a:cubicBezTo>
                  <a:lnTo>
                    <a:pt x="444466" y="491915"/>
                  </a:lnTo>
                  <a:cubicBezTo>
                    <a:pt x="446973" y="498311"/>
                    <a:pt x="448459" y="505264"/>
                    <a:pt x="448459" y="512587"/>
                  </a:cubicBezTo>
                  <a:cubicBezTo>
                    <a:pt x="448459" y="543921"/>
                    <a:pt x="423111" y="569322"/>
                    <a:pt x="391728" y="569322"/>
                  </a:cubicBezTo>
                  <a:cubicBezTo>
                    <a:pt x="360345" y="569322"/>
                    <a:pt x="334905" y="543921"/>
                    <a:pt x="334905" y="512587"/>
                  </a:cubicBezTo>
                  <a:cubicBezTo>
                    <a:pt x="334905" y="508601"/>
                    <a:pt x="335369" y="504708"/>
                    <a:pt x="336112" y="500907"/>
                  </a:cubicBezTo>
                  <a:lnTo>
                    <a:pt x="206867" y="419606"/>
                  </a:lnTo>
                  <a:cubicBezTo>
                    <a:pt x="197118" y="427300"/>
                    <a:pt x="185047" y="432121"/>
                    <a:pt x="171677" y="432121"/>
                  </a:cubicBezTo>
                  <a:cubicBezTo>
                    <a:pt x="164992" y="432121"/>
                    <a:pt x="158678" y="430730"/>
                    <a:pt x="152736" y="428598"/>
                  </a:cubicBezTo>
                  <a:lnTo>
                    <a:pt x="105847" y="484498"/>
                  </a:lnTo>
                  <a:cubicBezTo>
                    <a:pt x="110676" y="492842"/>
                    <a:pt x="113554" y="502390"/>
                    <a:pt x="113554" y="512587"/>
                  </a:cubicBezTo>
                  <a:cubicBezTo>
                    <a:pt x="113554" y="543921"/>
                    <a:pt x="88206" y="569322"/>
                    <a:pt x="56823" y="569322"/>
                  </a:cubicBezTo>
                  <a:cubicBezTo>
                    <a:pt x="25441" y="569322"/>
                    <a:pt x="0" y="543921"/>
                    <a:pt x="0" y="512587"/>
                  </a:cubicBezTo>
                  <a:cubicBezTo>
                    <a:pt x="0" y="481346"/>
                    <a:pt x="25441" y="455945"/>
                    <a:pt x="56823" y="455945"/>
                  </a:cubicBezTo>
                  <a:cubicBezTo>
                    <a:pt x="63973" y="455945"/>
                    <a:pt x="70843" y="457429"/>
                    <a:pt x="77157" y="459839"/>
                  </a:cubicBezTo>
                  <a:lnTo>
                    <a:pt x="123303" y="404773"/>
                  </a:lnTo>
                  <a:cubicBezTo>
                    <a:pt x="118103" y="396152"/>
                    <a:pt x="114854" y="386232"/>
                    <a:pt x="114854" y="375386"/>
                  </a:cubicBezTo>
                  <a:cubicBezTo>
                    <a:pt x="114854" y="344145"/>
                    <a:pt x="140294" y="318744"/>
                    <a:pt x="171677" y="318744"/>
                  </a:cubicBezTo>
                  <a:close/>
                  <a:moveTo>
                    <a:pt x="316484" y="174937"/>
                  </a:moveTo>
                  <a:lnTo>
                    <a:pt x="316577" y="174991"/>
                  </a:lnTo>
                  <a:lnTo>
                    <a:pt x="316577" y="243818"/>
                  </a:lnTo>
                  <a:cubicBezTo>
                    <a:pt x="325397" y="242149"/>
                    <a:pt x="332545" y="238070"/>
                    <a:pt x="338115" y="231488"/>
                  </a:cubicBezTo>
                  <a:cubicBezTo>
                    <a:pt x="343593" y="224999"/>
                    <a:pt x="346378" y="217304"/>
                    <a:pt x="346378" y="208497"/>
                  </a:cubicBezTo>
                  <a:cubicBezTo>
                    <a:pt x="346378" y="200617"/>
                    <a:pt x="344057" y="193757"/>
                    <a:pt x="339415" y="188102"/>
                  </a:cubicBezTo>
                  <a:lnTo>
                    <a:pt x="316577" y="174991"/>
                  </a:lnTo>
                  <a:lnTo>
                    <a:pt x="316577" y="174937"/>
                  </a:lnTo>
                  <a:close/>
                  <a:moveTo>
                    <a:pt x="290954" y="55995"/>
                  </a:moveTo>
                  <a:cubicBezTo>
                    <a:pt x="283991" y="58312"/>
                    <a:pt x="278421" y="62299"/>
                    <a:pt x="274243" y="67954"/>
                  </a:cubicBezTo>
                  <a:cubicBezTo>
                    <a:pt x="270158" y="73609"/>
                    <a:pt x="268116" y="79913"/>
                    <a:pt x="268116" y="86681"/>
                  </a:cubicBezTo>
                  <a:cubicBezTo>
                    <a:pt x="268116" y="92892"/>
                    <a:pt x="269973" y="98732"/>
                    <a:pt x="273779" y="104109"/>
                  </a:cubicBezTo>
                  <a:cubicBezTo>
                    <a:pt x="277493" y="109394"/>
                    <a:pt x="283249" y="113751"/>
                    <a:pt x="290954" y="117088"/>
                  </a:cubicBezTo>
                  <a:close/>
                  <a:moveTo>
                    <a:pt x="290861" y="0"/>
                  </a:moveTo>
                  <a:lnTo>
                    <a:pt x="316484" y="0"/>
                  </a:lnTo>
                  <a:lnTo>
                    <a:pt x="316484" y="17522"/>
                  </a:lnTo>
                  <a:cubicBezTo>
                    <a:pt x="335237" y="19747"/>
                    <a:pt x="350184" y="26143"/>
                    <a:pt x="361232" y="36619"/>
                  </a:cubicBezTo>
                  <a:cubicBezTo>
                    <a:pt x="372280" y="47188"/>
                    <a:pt x="379428" y="61279"/>
                    <a:pt x="382492" y="78893"/>
                  </a:cubicBezTo>
                  <a:lnTo>
                    <a:pt x="337744" y="84734"/>
                  </a:lnTo>
                  <a:cubicBezTo>
                    <a:pt x="335052" y="70828"/>
                    <a:pt x="327903" y="61464"/>
                    <a:pt x="316484" y="56458"/>
                  </a:cubicBezTo>
                  <a:lnTo>
                    <a:pt x="316484" y="125525"/>
                  </a:lnTo>
                  <a:cubicBezTo>
                    <a:pt x="344800" y="133219"/>
                    <a:pt x="364110" y="143139"/>
                    <a:pt x="374322" y="155283"/>
                  </a:cubicBezTo>
                  <a:cubicBezTo>
                    <a:pt x="384534" y="167428"/>
                    <a:pt x="389733" y="183095"/>
                    <a:pt x="389733" y="202193"/>
                  </a:cubicBezTo>
                  <a:cubicBezTo>
                    <a:pt x="389733" y="223423"/>
                    <a:pt x="383234" y="241408"/>
                    <a:pt x="370330" y="255963"/>
                  </a:cubicBezTo>
                  <a:cubicBezTo>
                    <a:pt x="357426" y="270610"/>
                    <a:pt x="339508" y="279510"/>
                    <a:pt x="316484" y="282755"/>
                  </a:cubicBezTo>
                  <a:lnTo>
                    <a:pt x="316484" y="315851"/>
                  </a:lnTo>
                  <a:lnTo>
                    <a:pt x="290861" y="315851"/>
                  </a:lnTo>
                  <a:lnTo>
                    <a:pt x="290861" y="283682"/>
                  </a:lnTo>
                  <a:cubicBezTo>
                    <a:pt x="270530" y="281179"/>
                    <a:pt x="253912" y="273577"/>
                    <a:pt x="241193" y="260876"/>
                  </a:cubicBezTo>
                  <a:cubicBezTo>
                    <a:pt x="228475" y="248175"/>
                    <a:pt x="220398" y="230283"/>
                    <a:pt x="216777" y="207106"/>
                  </a:cubicBezTo>
                  <a:lnTo>
                    <a:pt x="262917" y="202100"/>
                  </a:lnTo>
                  <a:cubicBezTo>
                    <a:pt x="264867" y="211556"/>
                    <a:pt x="268395" y="219714"/>
                    <a:pt x="273593" y="226482"/>
                  </a:cubicBezTo>
                  <a:cubicBezTo>
                    <a:pt x="278792" y="233342"/>
                    <a:pt x="284548" y="238256"/>
                    <a:pt x="290861" y="241315"/>
                  </a:cubicBezTo>
                  <a:lnTo>
                    <a:pt x="290861" y="167335"/>
                  </a:lnTo>
                  <a:cubicBezTo>
                    <a:pt x="267745" y="160753"/>
                    <a:pt x="250848" y="150834"/>
                    <a:pt x="240079" y="137484"/>
                  </a:cubicBezTo>
                  <a:cubicBezTo>
                    <a:pt x="229310" y="124041"/>
                    <a:pt x="223833" y="107910"/>
                    <a:pt x="223833" y="88813"/>
                  </a:cubicBezTo>
                  <a:cubicBezTo>
                    <a:pt x="223833" y="69530"/>
                    <a:pt x="229960" y="53306"/>
                    <a:pt x="242214" y="40142"/>
                  </a:cubicBezTo>
                  <a:cubicBezTo>
                    <a:pt x="254376" y="27070"/>
                    <a:pt x="270623" y="19468"/>
                    <a:pt x="290861" y="1752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3BC6A376-4498-4D6F-80AD-1A4586CAF3A0}"/>
                </a:ext>
              </a:extLst>
            </p:cNvPr>
            <p:cNvSpPr/>
            <p:nvPr/>
          </p:nvSpPr>
          <p:spPr>
            <a:xfrm>
              <a:off x="9929215" y="3627712"/>
              <a:ext cx="1447800" cy="4303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91440" tIns="46800" rIns="90000" bIns="4680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400"/>
              <a:r>
                <a:rPr lang="en-US" altLang="zh-CN" sz="1400" b="1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02690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73101" y="1375383"/>
            <a:ext cx="10845798" cy="1621509"/>
          </a:xfrm>
        </p:spPr>
        <p:txBody>
          <a:bodyPr/>
          <a:lstStyle/>
          <a:p>
            <a:pPr algn="ctr"/>
            <a:r>
              <a:rPr lang="zh-CN" altLang="en-US" sz="7200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谢谢！</a:t>
            </a:r>
            <a:endParaRPr lang="zh-CN" altLang="en-US" dirty="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en-US" altLang="en-US" dirty="0">
                <a:solidFill>
                  <a:schemeClr val="accent2"/>
                </a:solidFill>
                <a:cs typeface="+mn-ea"/>
                <a:sym typeface="+mn-lt"/>
              </a:rPr>
              <a:t>mba.guet.edu.cn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C661F4-6CB5-40BF-A8E6-D8E81666C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64D291D-7DF9-42B9-A1C9-78BB41334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33569EE-EC09-42F7-BF3D-656C9FB5E2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FC7B7A7-8706-47A4-8CF3-78810C3A173B}"/>
              </a:ext>
            </a:extLst>
          </p:cNvPr>
          <p:cNvSpPr/>
          <p:nvPr/>
        </p:nvSpPr>
        <p:spPr>
          <a:xfrm>
            <a:off x="669925" y="2060848"/>
            <a:ext cx="2173218" cy="38875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  <a:endParaRPr 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A8BC05D-0646-42BA-8F60-21468A82C0CB}"/>
              </a:ext>
            </a:extLst>
          </p:cNvPr>
          <p:cNvSpPr/>
          <p:nvPr/>
        </p:nvSpPr>
        <p:spPr>
          <a:xfrm>
            <a:off x="2843142" y="2060848"/>
            <a:ext cx="2173218" cy="3887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A70C4BD9-9676-425D-B364-6D9DA4AB4F77}"/>
              </a:ext>
            </a:extLst>
          </p:cNvPr>
          <p:cNvSpPr/>
          <p:nvPr/>
        </p:nvSpPr>
        <p:spPr>
          <a:xfrm>
            <a:off x="5000836" y="2060848"/>
            <a:ext cx="2173218" cy="38875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21439CCE-D614-4F3A-8F34-15533B9E0520}"/>
              </a:ext>
            </a:extLst>
          </p:cNvPr>
          <p:cNvSpPr/>
          <p:nvPr/>
        </p:nvSpPr>
        <p:spPr>
          <a:xfrm>
            <a:off x="7174054" y="2060848"/>
            <a:ext cx="2173218" cy="3887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10" name="箭头: 五边形 9">
            <a:extLst>
              <a:ext uri="{FF2B5EF4-FFF2-40B4-BE49-F238E27FC236}">
                <a16:creationId xmlns:a16="http://schemas.microsoft.com/office/drawing/2014/main" id="{C5610FB1-6F09-4FF6-AF61-BD9B2D1E4167}"/>
              </a:ext>
            </a:extLst>
          </p:cNvPr>
          <p:cNvSpPr/>
          <p:nvPr/>
        </p:nvSpPr>
        <p:spPr>
          <a:xfrm>
            <a:off x="9347271" y="2060848"/>
            <a:ext cx="2173218" cy="388752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C581E756-F646-4996-8CC5-F076C10E3D87}"/>
              </a:ext>
            </a:extLst>
          </p:cNvPr>
          <p:cNvSpPr/>
          <p:nvPr/>
        </p:nvSpPr>
        <p:spPr bwMode="gray">
          <a:xfrm>
            <a:off x="1701294" y="2388518"/>
            <a:ext cx="110480" cy="10774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0" name="直接连接符 39">
            <a:extLst>
              <a:ext uri="{FF2B5EF4-FFF2-40B4-BE49-F238E27FC236}">
                <a16:creationId xmlns:a16="http://schemas.microsoft.com/office/drawing/2014/main" id="{4C4963FD-A85A-4114-B9DE-DC24E63C1F09}"/>
              </a:ext>
            </a:extLst>
          </p:cNvPr>
          <p:cNvSpPr/>
          <p:nvPr/>
        </p:nvSpPr>
        <p:spPr bwMode="gray">
          <a:xfrm flipV="1">
            <a:off x="1756534" y="2480382"/>
            <a:ext cx="0" cy="94861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39223016-8696-4CDA-92D7-76792EA074D1}"/>
              </a:ext>
            </a:extLst>
          </p:cNvPr>
          <p:cNvSpPr/>
          <p:nvPr/>
        </p:nvSpPr>
        <p:spPr bwMode="gray">
          <a:xfrm>
            <a:off x="3874511" y="2403510"/>
            <a:ext cx="110480" cy="107745"/>
          </a:xfrm>
          <a:prstGeom prst="ellipse">
            <a:avLst/>
          </a:prstGeom>
          <a:solidFill>
            <a:schemeClr val="tx2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8" name="直接连接符 37">
            <a:extLst>
              <a:ext uri="{FF2B5EF4-FFF2-40B4-BE49-F238E27FC236}">
                <a16:creationId xmlns:a16="http://schemas.microsoft.com/office/drawing/2014/main" id="{5CD03332-1260-49F6-B91B-51AC21F029EE}"/>
              </a:ext>
            </a:extLst>
          </p:cNvPr>
          <p:cNvSpPr/>
          <p:nvPr/>
        </p:nvSpPr>
        <p:spPr bwMode="gray">
          <a:xfrm flipV="1">
            <a:off x="3929751" y="2471684"/>
            <a:ext cx="0" cy="2269337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FF26AC92-26DB-42C4-B246-81C4EE7C4158}"/>
              </a:ext>
            </a:extLst>
          </p:cNvPr>
          <p:cNvSpPr/>
          <p:nvPr/>
        </p:nvSpPr>
        <p:spPr bwMode="gray">
          <a:xfrm>
            <a:off x="6032205" y="2388518"/>
            <a:ext cx="110480" cy="10774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直接连接符 35">
            <a:extLst>
              <a:ext uri="{FF2B5EF4-FFF2-40B4-BE49-F238E27FC236}">
                <a16:creationId xmlns:a16="http://schemas.microsoft.com/office/drawing/2014/main" id="{3DD5A9CD-CDF0-4A4B-B6EF-B9B425D6BE13}"/>
              </a:ext>
            </a:extLst>
          </p:cNvPr>
          <p:cNvSpPr/>
          <p:nvPr/>
        </p:nvSpPr>
        <p:spPr bwMode="gray">
          <a:xfrm flipV="1">
            <a:off x="6087445" y="2480382"/>
            <a:ext cx="0" cy="94861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3F312D2B-9C76-4E62-A581-0E1F4FDBD59F}"/>
              </a:ext>
            </a:extLst>
          </p:cNvPr>
          <p:cNvSpPr/>
          <p:nvPr/>
        </p:nvSpPr>
        <p:spPr bwMode="gray">
          <a:xfrm>
            <a:off x="8205423" y="2403510"/>
            <a:ext cx="110480" cy="107745"/>
          </a:xfrm>
          <a:prstGeom prst="ellipse">
            <a:avLst/>
          </a:prstGeom>
          <a:solidFill>
            <a:schemeClr val="tx2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直接连接符 33">
            <a:extLst>
              <a:ext uri="{FF2B5EF4-FFF2-40B4-BE49-F238E27FC236}">
                <a16:creationId xmlns:a16="http://schemas.microsoft.com/office/drawing/2014/main" id="{24A32453-53E2-4E55-94D5-C695D176246D}"/>
              </a:ext>
            </a:extLst>
          </p:cNvPr>
          <p:cNvSpPr/>
          <p:nvPr/>
        </p:nvSpPr>
        <p:spPr bwMode="gray">
          <a:xfrm flipV="1">
            <a:off x="8260663" y="2471684"/>
            <a:ext cx="0" cy="2201841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89ED160C-872D-4CED-86B1-195507BBAEC2}"/>
              </a:ext>
            </a:extLst>
          </p:cNvPr>
          <p:cNvSpPr/>
          <p:nvPr/>
        </p:nvSpPr>
        <p:spPr bwMode="gray">
          <a:xfrm>
            <a:off x="10378640" y="2388518"/>
            <a:ext cx="110480" cy="107745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直接连接符 31">
            <a:extLst>
              <a:ext uri="{FF2B5EF4-FFF2-40B4-BE49-F238E27FC236}">
                <a16:creationId xmlns:a16="http://schemas.microsoft.com/office/drawing/2014/main" id="{14471490-9D85-4092-A712-55467046FBB6}"/>
              </a:ext>
            </a:extLst>
          </p:cNvPr>
          <p:cNvSpPr/>
          <p:nvPr/>
        </p:nvSpPr>
        <p:spPr bwMode="gray">
          <a:xfrm flipV="1">
            <a:off x="10433880" y="2480382"/>
            <a:ext cx="0" cy="94861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3255E2A4-BBC0-4B23-A883-5E42A6785701}"/>
              </a:ext>
            </a:extLst>
          </p:cNvPr>
          <p:cNvSpPr txBox="1"/>
          <p:nvPr/>
        </p:nvSpPr>
        <p:spPr>
          <a:xfrm>
            <a:off x="669924" y="3429106"/>
            <a:ext cx="2173217" cy="471579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DCF4E9A0-5B34-4B02-AC7C-888230AC9246}"/>
              </a:ext>
            </a:extLst>
          </p:cNvPr>
          <p:cNvSpPr txBox="1"/>
          <p:nvPr/>
        </p:nvSpPr>
        <p:spPr>
          <a:xfrm>
            <a:off x="669925" y="3900686"/>
            <a:ext cx="2173218" cy="8403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B6727509-75AC-4119-B7C5-BD7E839AC40B}"/>
              </a:ext>
            </a:extLst>
          </p:cNvPr>
          <p:cNvSpPr txBox="1"/>
          <p:nvPr/>
        </p:nvSpPr>
        <p:spPr>
          <a:xfrm>
            <a:off x="2854283" y="4673526"/>
            <a:ext cx="2173217" cy="471579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9B829B4F-8C01-4453-93A0-296BAA66FC05}"/>
              </a:ext>
            </a:extLst>
          </p:cNvPr>
          <p:cNvSpPr txBox="1"/>
          <p:nvPr/>
        </p:nvSpPr>
        <p:spPr>
          <a:xfrm>
            <a:off x="2854284" y="5145106"/>
            <a:ext cx="2173218" cy="8403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4067DD8F-22E4-4B96-B23A-ED50839BC4F1}"/>
              </a:ext>
            </a:extLst>
          </p:cNvPr>
          <p:cNvSpPr txBox="1"/>
          <p:nvPr/>
        </p:nvSpPr>
        <p:spPr>
          <a:xfrm>
            <a:off x="5008450" y="3429106"/>
            <a:ext cx="2173217" cy="471579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9673190-E0B9-4CCE-BF22-DB8371B12A0E}"/>
              </a:ext>
            </a:extLst>
          </p:cNvPr>
          <p:cNvSpPr txBox="1"/>
          <p:nvPr/>
        </p:nvSpPr>
        <p:spPr>
          <a:xfrm>
            <a:off x="5008451" y="3900686"/>
            <a:ext cx="2173218" cy="8403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CC40319-0DA1-4FE9-A4A9-ABA5EB71EC39}"/>
              </a:ext>
            </a:extLst>
          </p:cNvPr>
          <p:cNvSpPr txBox="1"/>
          <p:nvPr/>
        </p:nvSpPr>
        <p:spPr>
          <a:xfrm>
            <a:off x="7192809" y="4673526"/>
            <a:ext cx="2173217" cy="471579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3A06DFA-90F7-4C5C-A1D2-8CF7004CCAEC}"/>
              </a:ext>
            </a:extLst>
          </p:cNvPr>
          <p:cNvSpPr txBox="1"/>
          <p:nvPr/>
        </p:nvSpPr>
        <p:spPr>
          <a:xfrm>
            <a:off x="7192810" y="5145106"/>
            <a:ext cx="2173218" cy="8403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43023784-F974-4289-AF5C-42EBCF774F68}"/>
              </a:ext>
            </a:extLst>
          </p:cNvPr>
          <p:cNvSpPr txBox="1"/>
          <p:nvPr/>
        </p:nvSpPr>
        <p:spPr>
          <a:xfrm>
            <a:off x="9367781" y="3429106"/>
            <a:ext cx="2173217" cy="471579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16418EE-F9DE-4016-90D0-1A7287079B0B}"/>
              </a:ext>
            </a:extLst>
          </p:cNvPr>
          <p:cNvSpPr txBox="1"/>
          <p:nvPr/>
        </p:nvSpPr>
        <p:spPr>
          <a:xfrm>
            <a:off x="9367782" y="3900686"/>
            <a:ext cx="2173218" cy="840336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Supporting text here</a:t>
            </a:r>
          </a:p>
          <a:p>
            <a:pPr marL="172800" lvl="0" indent="-17280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altLang="zh-CN" sz="9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932404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46180DC-DE23-46A6-AEDF-337D482CD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5459B02-A97D-4508-A5A2-B5D00BE3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E3E8E72-32C9-40E6-91ED-CD70FD397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6D4BACA3-655F-4136-A18C-FF4215052DC6}"/>
              </a:ext>
            </a:extLst>
          </p:cNvPr>
          <p:cNvSpPr/>
          <p:nvPr/>
        </p:nvSpPr>
        <p:spPr>
          <a:xfrm>
            <a:off x="2462953" y="1457608"/>
            <a:ext cx="1507854" cy="1514106"/>
          </a:xfrm>
          <a:custGeom>
            <a:avLst/>
            <a:gdLst>
              <a:gd name="connsiteX0" fmla="*/ 0 w 2032000"/>
              <a:gd name="connsiteY0" fmla="*/ 1354666 h 1354666"/>
              <a:gd name="connsiteX1" fmla="*/ 1016000 w 2032000"/>
              <a:gd name="connsiteY1" fmla="*/ 0 h 1354666"/>
              <a:gd name="connsiteX2" fmla="*/ 1016000 w 2032000"/>
              <a:gd name="connsiteY2" fmla="*/ 0 h 1354666"/>
              <a:gd name="connsiteX3" fmla="*/ 2032000 w 2032000"/>
              <a:gd name="connsiteY3" fmla="*/ 1354666 h 1354666"/>
              <a:gd name="connsiteX4" fmla="*/ 0 w 2032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2000" h="1354666">
                <a:moveTo>
                  <a:pt x="0" y="1354666"/>
                </a:moveTo>
                <a:lnTo>
                  <a:pt x="1016000" y="0"/>
                </a:lnTo>
                <a:lnTo>
                  <a:pt x="1016000" y="0"/>
                </a:lnTo>
                <a:lnTo>
                  <a:pt x="2032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F8860F76-5E2F-44F4-A85E-7C3F04C8EA40}"/>
              </a:ext>
            </a:extLst>
          </p:cNvPr>
          <p:cNvSpPr/>
          <p:nvPr/>
        </p:nvSpPr>
        <p:spPr>
          <a:xfrm>
            <a:off x="1582595" y="3087224"/>
            <a:ext cx="3268570" cy="1514106"/>
          </a:xfrm>
          <a:custGeom>
            <a:avLst/>
            <a:gdLst>
              <a:gd name="connsiteX0" fmla="*/ 0 w 4064000"/>
              <a:gd name="connsiteY0" fmla="*/ 1354666 h 1354666"/>
              <a:gd name="connsiteX1" fmla="*/ 1016000 w 4064000"/>
              <a:gd name="connsiteY1" fmla="*/ 0 h 1354666"/>
              <a:gd name="connsiteX2" fmla="*/ 3048000 w 4064000"/>
              <a:gd name="connsiteY2" fmla="*/ 0 h 1354666"/>
              <a:gd name="connsiteX3" fmla="*/ 4064000 w 4064000"/>
              <a:gd name="connsiteY3" fmla="*/ 1354666 h 1354666"/>
              <a:gd name="connsiteX4" fmla="*/ 0 w 4064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000" h="1354666">
                <a:moveTo>
                  <a:pt x="0" y="1354666"/>
                </a:moveTo>
                <a:lnTo>
                  <a:pt x="1016000" y="0"/>
                </a:lnTo>
                <a:lnTo>
                  <a:pt x="3048000" y="0"/>
                </a:lnTo>
                <a:lnTo>
                  <a:pt x="4064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436AC919-3A91-4A44-9D92-8FED1DC3D238}"/>
              </a:ext>
            </a:extLst>
          </p:cNvPr>
          <p:cNvSpPr/>
          <p:nvPr/>
        </p:nvSpPr>
        <p:spPr>
          <a:xfrm>
            <a:off x="652439" y="4723182"/>
            <a:ext cx="5128884" cy="1514106"/>
          </a:xfrm>
          <a:custGeom>
            <a:avLst/>
            <a:gdLst>
              <a:gd name="connsiteX0" fmla="*/ 0 w 6096000"/>
              <a:gd name="connsiteY0" fmla="*/ 1354666 h 1354666"/>
              <a:gd name="connsiteX1" fmla="*/ 1016000 w 6096000"/>
              <a:gd name="connsiteY1" fmla="*/ 0 h 1354666"/>
              <a:gd name="connsiteX2" fmla="*/ 5080000 w 6096000"/>
              <a:gd name="connsiteY2" fmla="*/ 0 h 1354666"/>
              <a:gd name="connsiteX3" fmla="*/ 6096000 w 6096000"/>
              <a:gd name="connsiteY3" fmla="*/ 1354666 h 1354666"/>
              <a:gd name="connsiteX4" fmla="*/ 0 w 6096000"/>
              <a:gd name="connsiteY4" fmla="*/ 1354666 h 1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1354666">
                <a:moveTo>
                  <a:pt x="0" y="1354666"/>
                </a:moveTo>
                <a:lnTo>
                  <a:pt x="1016000" y="0"/>
                </a:lnTo>
                <a:lnTo>
                  <a:pt x="5080000" y="0"/>
                </a:lnTo>
                <a:lnTo>
                  <a:pt x="6096000" y="1354666"/>
                </a:lnTo>
                <a:lnTo>
                  <a:pt x="0" y="13546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923A3EC3-8D8F-436A-B730-A1389A4AD50C}"/>
              </a:ext>
            </a:extLst>
          </p:cNvPr>
          <p:cNvSpPr txBox="1"/>
          <p:nvPr/>
        </p:nvSpPr>
        <p:spPr>
          <a:xfrm>
            <a:off x="2381269" y="5208228"/>
            <a:ext cx="1671219" cy="754552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Text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32381DC-8F40-438F-99BC-68DA535FFAE7}"/>
              </a:ext>
            </a:extLst>
          </p:cNvPr>
          <p:cNvSpPr txBox="1"/>
          <p:nvPr/>
        </p:nvSpPr>
        <p:spPr>
          <a:xfrm>
            <a:off x="2381269" y="3526636"/>
            <a:ext cx="1671219" cy="754552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Text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C5E3BE3-2AAF-4403-8899-55725241690E}"/>
              </a:ext>
            </a:extLst>
          </p:cNvPr>
          <p:cNvSpPr txBox="1"/>
          <p:nvPr/>
        </p:nvSpPr>
        <p:spPr>
          <a:xfrm>
            <a:off x="2381269" y="2048524"/>
            <a:ext cx="1671219" cy="754552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no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Text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2" name="弧形 11">
            <a:extLst>
              <a:ext uri="{FF2B5EF4-FFF2-40B4-BE49-F238E27FC236}">
                <a16:creationId xmlns:a16="http://schemas.microsoft.com/office/drawing/2014/main" id="{9AC788A6-24C1-4EDC-920D-F0ACB28F7208}"/>
              </a:ext>
            </a:extLst>
          </p:cNvPr>
          <p:cNvSpPr/>
          <p:nvPr/>
        </p:nvSpPr>
        <p:spPr>
          <a:xfrm rot="1449945">
            <a:off x="2413208" y="1900241"/>
            <a:ext cx="2401925" cy="2401925"/>
          </a:xfrm>
          <a:prstGeom prst="arc">
            <a:avLst>
              <a:gd name="adj1" fmla="val 16047879"/>
              <a:gd name="adj2" fmla="val 21267678"/>
            </a:avLst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3" name="弧形 12">
            <a:extLst>
              <a:ext uri="{FF2B5EF4-FFF2-40B4-BE49-F238E27FC236}">
                <a16:creationId xmlns:a16="http://schemas.microsoft.com/office/drawing/2014/main" id="{5F11B69F-44A4-4B3E-B3DD-2AB65954058F}"/>
              </a:ext>
            </a:extLst>
          </p:cNvPr>
          <p:cNvSpPr/>
          <p:nvPr/>
        </p:nvSpPr>
        <p:spPr>
          <a:xfrm rot="1311995">
            <a:off x="3261833" y="3756022"/>
            <a:ext cx="2401925" cy="2401925"/>
          </a:xfrm>
          <a:prstGeom prst="arc">
            <a:avLst>
              <a:gd name="adj1" fmla="val 16200000"/>
              <a:gd name="adj2" fmla="val 21123244"/>
            </a:avLst>
          </a:prstGeom>
          <a:noFill/>
          <a:ln w="3175">
            <a:solidFill>
              <a:schemeClr val="bg1">
                <a:lumMod val="75000"/>
              </a:schemeClr>
            </a:solidFill>
            <a:prstDash val="dash"/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7B292413-983E-4AC6-AB62-69B6E400303D}"/>
              </a:ext>
            </a:extLst>
          </p:cNvPr>
          <p:cNvSpPr/>
          <p:nvPr/>
        </p:nvSpPr>
        <p:spPr>
          <a:xfrm>
            <a:off x="5062513" y="5151616"/>
            <a:ext cx="632039" cy="632039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02DED40A-3C6D-42AE-AAB9-89CCF91034C6}"/>
              </a:ext>
            </a:extLst>
          </p:cNvPr>
          <p:cNvSpPr/>
          <p:nvPr/>
        </p:nvSpPr>
        <p:spPr bwMode="auto">
          <a:xfrm>
            <a:off x="5213956" y="5290634"/>
            <a:ext cx="329156" cy="353999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2F3A1FFD-FF57-41B4-9FF9-3523C6514E33}"/>
              </a:ext>
            </a:extLst>
          </p:cNvPr>
          <p:cNvSpPr/>
          <p:nvPr/>
        </p:nvSpPr>
        <p:spPr>
          <a:xfrm>
            <a:off x="4034651" y="3376305"/>
            <a:ext cx="856288" cy="856288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8E26A5F6-F74F-414D-8556-3D650E27739A}"/>
              </a:ext>
            </a:extLst>
          </p:cNvPr>
          <p:cNvSpPr/>
          <p:nvPr/>
        </p:nvSpPr>
        <p:spPr>
          <a:xfrm>
            <a:off x="3420449" y="1831692"/>
            <a:ext cx="632039" cy="632039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82E7F5D4-AA55-401A-8D32-3C2BCA009F5B}"/>
              </a:ext>
            </a:extLst>
          </p:cNvPr>
          <p:cNvSpPr/>
          <p:nvPr/>
        </p:nvSpPr>
        <p:spPr bwMode="auto">
          <a:xfrm>
            <a:off x="4239825" y="3564648"/>
            <a:ext cx="445941" cy="479599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E05309E7-1B88-4907-849E-FB8881F9E640}"/>
              </a:ext>
            </a:extLst>
          </p:cNvPr>
          <p:cNvCxnSpPr>
            <a:cxnSpLocks/>
          </p:cNvCxnSpPr>
          <p:nvPr/>
        </p:nvCxnSpPr>
        <p:spPr>
          <a:xfrm>
            <a:off x="5901036" y="2873900"/>
            <a:ext cx="56194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1B5CEEE9-3DAA-480C-9D9B-CEC9BA03BDF6}"/>
              </a:ext>
            </a:extLst>
          </p:cNvPr>
          <p:cNvCxnSpPr>
            <a:cxnSpLocks/>
          </p:cNvCxnSpPr>
          <p:nvPr/>
        </p:nvCxnSpPr>
        <p:spPr>
          <a:xfrm>
            <a:off x="5901036" y="4516921"/>
            <a:ext cx="56194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39FAB6F5-C212-4547-A2FB-5A7E47A42E33}"/>
              </a:ext>
            </a:extLst>
          </p:cNvPr>
          <p:cNvSpPr/>
          <p:nvPr/>
        </p:nvSpPr>
        <p:spPr bwMode="auto">
          <a:xfrm>
            <a:off x="3571892" y="1970711"/>
            <a:ext cx="329156" cy="353999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E3967AC-A3B6-47E2-9E53-B4101F031C3C}"/>
              </a:ext>
            </a:extLst>
          </p:cNvPr>
          <p:cNvSpPr/>
          <p:nvPr/>
        </p:nvSpPr>
        <p:spPr>
          <a:xfrm>
            <a:off x="5819565" y="1862488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4BEF08A9-72AE-441B-BEC1-3EC075D44BF0}"/>
              </a:ext>
            </a:extLst>
          </p:cNvPr>
          <p:cNvSpPr/>
          <p:nvPr/>
        </p:nvSpPr>
        <p:spPr>
          <a:xfrm>
            <a:off x="5819565" y="3519227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DBFD8161-77AF-4F5B-B4ED-E0506F239CC0}"/>
              </a:ext>
            </a:extLst>
          </p:cNvPr>
          <p:cNvSpPr/>
          <p:nvPr/>
        </p:nvSpPr>
        <p:spPr>
          <a:xfrm>
            <a:off x="5819565" y="5182413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1F62B19F-C9A7-4631-BF90-589C569B7E3C}"/>
              </a:ext>
            </a:extLst>
          </p:cNvPr>
          <p:cNvSpPr/>
          <p:nvPr/>
        </p:nvSpPr>
        <p:spPr>
          <a:xfrm>
            <a:off x="9145176" y="1862488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60DC3AA5-7E82-4C9B-854E-86BED015E03E}"/>
              </a:ext>
            </a:extLst>
          </p:cNvPr>
          <p:cNvSpPr/>
          <p:nvPr/>
        </p:nvSpPr>
        <p:spPr>
          <a:xfrm>
            <a:off x="9145176" y="3519227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1C65EC1-1F79-43DD-B5AC-1BCA1229CBEC}"/>
              </a:ext>
            </a:extLst>
          </p:cNvPr>
          <p:cNvSpPr/>
          <p:nvPr/>
        </p:nvSpPr>
        <p:spPr>
          <a:xfrm>
            <a:off x="9145176" y="5182413"/>
            <a:ext cx="2375312" cy="57044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  <a:p>
            <a:pPr marL="285744" lvl="0" indent="-28574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solidFill>
                  <a:srgbClr val="000000"/>
                </a:solidFill>
                <a:cs typeface="+mn-ea"/>
                <a:sym typeface="+mn-lt"/>
              </a:rPr>
              <a:t>Supporting text here</a:t>
            </a:r>
          </a:p>
        </p:txBody>
      </p:sp>
    </p:spTree>
    <p:extLst>
      <p:ext uri="{BB962C8B-B14F-4D97-AF65-F5344CB8AC3E}">
        <p14:creationId xmlns:p14="http://schemas.microsoft.com/office/powerpoint/2010/main" val="3429171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F0C0D78-79D2-4AF8-8B48-CA7035C00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F95077-3EE2-44EB-B58A-A39AA0BEF6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6FE1A82-A162-4D9E-A479-E1A7ED2C8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5354282" y="2543544"/>
            <a:ext cx="1489049" cy="2334494"/>
          </a:xfrm>
          <a:custGeom>
            <a:avLst/>
            <a:gdLst>
              <a:gd name="connsiteX0" fmla="*/ 661412 w 1308894"/>
              <a:gd name="connsiteY0" fmla="*/ 0 h 2052053"/>
              <a:gd name="connsiteX1" fmla="*/ 670279 w 1308894"/>
              <a:gd name="connsiteY1" fmla="*/ 4056 h 2052053"/>
              <a:gd name="connsiteX2" fmla="*/ 1308894 w 1308894"/>
              <a:gd name="connsiteY2" fmla="*/ 1022841 h 2052053"/>
              <a:gd name="connsiteX3" fmla="*/ 670279 w 1308894"/>
              <a:gd name="connsiteY3" fmla="*/ 2041626 h 2052053"/>
              <a:gd name="connsiteX4" fmla="*/ 647483 w 1308894"/>
              <a:gd name="connsiteY4" fmla="*/ 2052053 h 2052053"/>
              <a:gd name="connsiteX5" fmla="*/ 638615 w 1308894"/>
              <a:gd name="connsiteY5" fmla="*/ 2047997 h 2052053"/>
              <a:gd name="connsiteX6" fmla="*/ 0 w 1308894"/>
              <a:gd name="connsiteY6" fmla="*/ 1029212 h 2052053"/>
              <a:gd name="connsiteX7" fmla="*/ 638615 w 1308894"/>
              <a:gd name="connsiteY7" fmla="*/ 10427 h 2052053"/>
              <a:gd name="connsiteX8" fmla="*/ 661412 w 1308894"/>
              <a:gd name="connsiteY8" fmla="*/ 0 h 2052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894" h="2052053">
                <a:moveTo>
                  <a:pt x="661412" y="0"/>
                </a:moveTo>
                <a:lnTo>
                  <a:pt x="670279" y="4056"/>
                </a:lnTo>
                <a:cubicBezTo>
                  <a:pt x="1050667" y="200257"/>
                  <a:pt x="1308894" y="582916"/>
                  <a:pt x="1308894" y="1022841"/>
                </a:cubicBezTo>
                <a:cubicBezTo>
                  <a:pt x="1308894" y="1462766"/>
                  <a:pt x="1050667" y="1845426"/>
                  <a:pt x="670279" y="2041626"/>
                </a:cubicBezTo>
                <a:lnTo>
                  <a:pt x="647483" y="2052053"/>
                </a:lnTo>
                <a:lnTo>
                  <a:pt x="638615" y="2047997"/>
                </a:lnTo>
                <a:cubicBezTo>
                  <a:pt x="258227" y="1851797"/>
                  <a:pt x="0" y="1469137"/>
                  <a:pt x="0" y="1029212"/>
                </a:cubicBezTo>
                <a:cubicBezTo>
                  <a:pt x="0" y="589287"/>
                  <a:pt x="258227" y="206628"/>
                  <a:pt x="638615" y="10427"/>
                </a:cubicBezTo>
                <a:lnTo>
                  <a:pt x="66141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algn="ctr" defTabSz="914400"/>
            <a:endParaRPr sz="1200" b="1" kern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4066887" y="2389070"/>
            <a:ext cx="2039844" cy="2636193"/>
          </a:xfrm>
          <a:custGeom>
            <a:avLst/>
            <a:gdLst>
              <a:gd name="connsiteX0" fmla="*/ 1220266 w 1793050"/>
              <a:gd name="connsiteY0" fmla="*/ 0 h 2317250"/>
              <a:gd name="connsiteX1" fmla="*/ 1695248 w 1793050"/>
              <a:gd name="connsiteY1" fmla="*/ 91050 h 2317250"/>
              <a:gd name="connsiteX2" fmla="*/ 1793050 w 1793050"/>
              <a:gd name="connsiteY2" fmla="*/ 135784 h 2317250"/>
              <a:gd name="connsiteX3" fmla="*/ 1770253 w 1793050"/>
              <a:gd name="connsiteY3" fmla="*/ 146211 h 2317250"/>
              <a:gd name="connsiteX4" fmla="*/ 1131638 w 1793050"/>
              <a:gd name="connsiteY4" fmla="*/ 1164996 h 2317250"/>
              <a:gd name="connsiteX5" fmla="*/ 1770253 w 1793050"/>
              <a:gd name="connsiteY5" fmla="*/ 2183781 h 2317250"/>
              <a:gd name="connsiteX6" fmla="*/ 1779121 w 1793050"/>
              <a:gd name="connsiteY6" fmla="*/ 2187837 h 2317250"/>
              <a:gd name="connsiteX7" fmla="*/ 1695248 w 1793050"/>
              <a:gd name="connsiteY7" fmla="*/ 2226200 h 2317250"/>
              <a:gd name="connsiteX8" fmla="*/ 1220266 w 1793050"/>
              <a:gd name="connsiteY8" fmla="*/ 2317250 h 2317250"/>
              <a:gd name="connsiteX9" fmla="*/ 0 w 1793050"/>
              <a:gd name="connsiteY9" fmla="*/ 1158625 h 2317250"/>
              <a:gd name="connsiteX10" fmla="*/ 1220266 w 1793050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50" h="2317250">
                <a:moveTo>
                  <a:pt x="1220266" y="0"/>
                </a:moveTo>
                <a:cubicBezTo>
                  <a:pt x="1388750" y="0"/>
                  <a:pt x="1549258" y="32421"/>
                  <a:pt x="1695248" y="91050"/>
                </a:cubicBezTo>
                <a:lnTo>
                  <a:pt x="1793050" y="135784"/>
                </a:lnTo>
                <a:lnTo>
                  <a:pt x="1770253" y="146211"/>
                </a:lnTo>
                <a:cubicBezTo>
                  <a:pt x="1389865" y="342412"/>
                  <a:pt x="1131638" y="725071"/>
                  <a:pt x="1131638" y="1164996"/>
                </a:cubicBezTo>
                <a:cubicBezTo>
                  <a:pt x="1131638" y="1604921"/>
                  <a:pt x="1389865" y="1987581"/>
                  <a:pt x="1770253" y="2183781"/>
                </a:cubicBezTo>
                <a:lnTo>
                  <a:pt x="1779121" y="2187837"/>
                </a:lnTo>
                <a:lnTo>
                  <a:pt x="1695248" y="2226200"/>
                </a:lnTo>
                <a:cubicBezTo>
                  <a:pt x="1549258" y="2284829"/>
                  <a:pt x="1388750" y="2317250"/>
                  <a:pt x="1220266" y="2317250"/>
                </a:cubicBezTo>
                <a:cubicBezTo>
                  <a:pt x="546332" y="2317250"/>
                  <a:pt x="0" y="1798516"/>
                  <a:pt x="0" y="1158625"/>
                </a:cubicBezTo>
                <a:cubicBezTo>
                  <a:pt x="0" y="518734"/>
                  <a:pt x="546332" y="0"/>
                  <a:pt x="122026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E1879413-1CCE-4B50-BF57-9E7387AFE7D5}"/>
              </a:ext>
            </a:extLst>
          </p:cNvPr>
          <p:cNvSpPr/>
          <p:nvPr/>
        </p:nvSpPr>
        <p:spPr>
          <a:xfrm>
            <a:off x="8948995" y="196881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56A86C3-4CC3-490A-BDB5-55504F3F41B3}"/>
              </a:ext>
            </a:extLst>
          </p:cNvPr>
          <p:cNvSpPr/>
          <p:nvPr/>
        </p:nvSpPr>
        <p:spPr>
          <a:xfrm>
            <a:off x="8960338" y="152221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4DA03172-4B01-4A11-84FD-023BC41315E4}"/>
              </a:ext>
            </a:extLst>
          </p:cNvPr>
          <p:cNvSpPr/>
          <p:nvPr/>
        </p:nvSpPr>
        <p:spPr>
          <a:xfrm>
            <a:off x="8352393" y="1741631"/>
            <a:ext cx="472236" cy="4722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42AE8AF4-C1CB-4CD4-9A8F-26DB8A3064D4}"/>
              </a:ext>
            </a:extLst>
          </p:cNvPr>
          <p:cNvSpPr/>
          <p:nvPr/>
        </p:nvSpPr>
        <p:spPr>
          <a:xfrm>
            <a:off x="8513976" y="1879544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6090886" y="2396317"/>
            <a:ext cx="2039843" cy="2636193"/>
          </a:xfrm>
          <a:custGeom>
            <a:avLst/>
            <a:gdLst>
              <a:gd name="connsiteX0" fmla="*/ 572783 w 1793049"/>
              <a:gd name="connsiteY0" fmla="*/ 0 h 2317250"/>
              <a:gd name="connsiteX1" fmla="*/ 1793049 w 1793049"/>
              <a:gd name="connsiteY1" fmla="*/ 1158625 h 2317250"/>
              <a:gd name="connsiteX2" fmla="*/ 572783 w 1793049"/>
              <a:gd name="connsiteY2" fmla="*/ 2317250 h 2317250"/>
              <a:gd name="connsiteX3" fmla="*/ 97801 w 1793049"/>
              <a:gd name="connsiteY3" fmla="*/ 2226200 h 2317250"/>
              <a:gd name="connsiteX4" fmla="*/ 0 w 1793049"/>
              <a:gd name="connsiteY4" fmla="*/ 2181466 h 2317250"/>
              <a:gd name="connsiteX5" fmla="*/ 22796 w 1793049"/>
              <a:gd name="connsiteY5" fmla="*/ 2171039 h 2317250"/>
              <a:gd name="connsiteX6" fmla="*/ 661411 w 1793049"/>
              <a:gd name="connsiteY6" fmla="*/ 1152254 h 2317250"/>
              <a:gd name="connsiteX7" fmla="*/ 22796 w 1793049"/>
              <a:gd name="connsiteY7" fmla="*/ 133469 h 2317250"/>
              <a:gd name="connsiteX8" fmla="*/ 13929 w 1793049"/>
              <a:gd name="connsiteY8" fmla="*/ 129413 h 2317250"/>
              <a:gd name="connsiteX9" fmla="*/ 97801 w 1793049"/>
              <a:gd name="connsiteY9" fmla="*/ 91050 h 2317250"/>
              <a:gd name="connsiteX10" fmla="*/ 572783 w 1793049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49" h="2317250">
                <a:moveTo>
                  <a:pt x="572783" y="0"/>
                </a:moveTo>
                <a:cubicBezTo>
                  <a:pt x="1246717" y="0"/>
                  <a:pt x="1793049" y="518734"/>
                  <a:pt x="1793049" y="1158625"/>
                </a:cubicBezTo>
                <a:cubicBezTo>
                  <a:pt x="1793049" y="1798516"/>
                  <a:pt x="1246717" y="2317250"/>
                  <a:pt x="572783" y="2317250"/>
                </a:cubicBezTo>
                <a:cubicBezTo>
                  <a:pt x="404300" y="2317250"/>
                  <a:pt x="243791" y="2284829"/>
                  <a:pt x="97801" y="2226200"/>
                </a:cubicBezTo>
                <a:lnTo>
                  <a:pt x="0" y="2181466"/>
                </a:lnTo>
                <a:lnTo>
                  <a:pt x="22796" y="2171039"/>
                </a:lnTo>
                <a:cubicBezTo>
                  <a:pt x="403184" y="1974839"/>
                  <a:pt x="661411" y="1592179"/>
                  <a:pt x="661411" y="1152254"/>
                </a:cubicBezTo>
                <a:cubicBezTo>
                  <a:pt x="661411" y="712329"/>
                  <a:pt x="403184" y="329670"/>
                  <a:pt x="22796" y="133469"/>
                </a:cubicBezTo>
                <a:lnTo>
                  <a:pt x="13929" y="129413"/>
                </a:lnTo>
                <a:lnTo>
                  <a:pt x="97801" y="91050"/>
                </a:lnTo>
                <a:cubicBezTo>
                  <a:pt x="243791" y="32421"/>
                  <a:pt x="404300" y="0"/>
                  <a:pt x="57278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396397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 dirty="0">
                <a:cs typeface="+mn-ea"/>
                <a:sym typeface="+mn-lt"/>
              </a:rPr>
              <a:t>Text Here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667698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 dirty="0">
                <a:cs typeface="+mn-ea"/>
                <a:sym typeface="+mn-lt"/>
              </a:rPr>
              <a:t>Text Here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5332663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 dirty="0">
                <a:cs typeface="+mn-ea"/>
                <a:sym typeface="+mn-lt"/>
              </a:rPr>
              <a:t>Text Here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A1660CE6-48BF-446F-A482-6A8AC402E379}"/>
              </a:ext>
            </a:extLst>
          </p:cNvPr>
          <p:cNvSpPr/>
          <p:nvPr/>
        </p:nvSpPr>
        <p:spPr>
          <a:xfrm>
            <a:off x="3367372" y="1741631"/>
            <a:ext cx="472236" cy="4722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12AB2DE7-DCB2-4307-B2A5-EA8E31D0EA22}"/>
              </a:ext>
            </a:extLst>
          </p:cNvPr>
          <p:cNvSpPr/>
          <p:nvPr/>
        </p:nvSpPr>
        <p:spPr>
          <a:xfrm>
            <a:off x="3512175" y="1879542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88FD0896-044B-406B-A1DF-CA7C9776A449}"/>
              </a:ext>
            </a:extLst>
          </p:cNvPr>
          <p:cNvSpPr/>
          <p:nvPr/>
        </p:nvSpPr>
        <p:spPr>
          <a:xfrm>
            <a:off x="676063" y="196881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B7CAFE2E-66DB-4D65-A6F2-F3D7BB71D409}"/>
              </a:ext>
            </a:extLst>
          </p:cNvPr>
          <p:cNvSpPr/>
          <p:nvPr/>
        </p:nvSpPr>
        <p:spPr>
          <a:xfrm>
            <a:off x="687406" y="152221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78587536-7047-497E-AC11-EE64829575A0}"/>
              </a:ext>
            </a:extLst>
          </p:cNvPr>
          <p:cNvSpPr/>
          <p:nvPr/>
        </p:nvSpPr>
        <p:spPr>
          <a:xfrm>
            <a:off x="8948995" y="319874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F7AD7DB-93A8-4D60-846D-30F6676B428A}"/>
              </a:ext>
            </a:extLst>
          </p:cNvPr>
          <p:cNvSpPr/>
          <p:nvPr/>
        </p:nvSpPr>
        <p:spPr>
          <a:xfrm>
            <a:off x="8960338" y="275214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57" name="椭圆 56">
            <a:extLst>
              <a:ext uri="{FF2B5EF4-FFF2-40B4-BE49-F238E27FC236}">
                <a16:creationId xmlns:a16="http://schemas.microsoft.com/office/drawing/2014/main" id="{405B6947-C5C6-41DD-893E-E9364ECCF943}"/>
              </a:ext>
            </a:extLst>
          </p:cNvPr>
          <p:cNvSpPr/>
          <p:nvPr/>
        </p:nvSpPr>
        <p:spPr>
          <a:xfrm>
            <a:off x="8352393" y="2971561"/>
            <a:ext cx="472236" cy="4722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36C426AD-8D94-4514-B01D-0775054FCE83}"/>
              </a:ext>
            </a:extLst>
          </p:cNvPr>
          <p:cNvSpPr/>
          <p:nvPr/>
        </p:nvSpPr>
        <p:spPr>
          <a:xfrm>
            <a:off x="8513976" y="3109474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9985C559-72BF-4EE0-87AF-A2B9613729FE}"/>
              </a:ext>
            </a:extLst>
          </p:cNvPr>
          <p:cNvSpPr/>
          <p:nvPr/>
        </p:nvSpPr>
        <p:spPr>
          <a:xfrm>
            <a:off x="3367372" y="2971561"/>
            <a:ext cx="472236" cy="4722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4C33B16B-D0AF-4E81-A3F8-870A33D766B5}"/>
              </a:ext>
            </a:extLst>
          </p:cNvPr>
          <p:cNvSpPr/>
          <p:nvPr/>
        </p:nvSpPr>
        <p:spPr>
          <a:xfrm>
            <a:off x="3512175" y="3109472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549C247D-A553-43C7-8F90-10BCF4E8E00A}"/>
              </a:ext>
            </a:extLst>
          </p:cNvPr>
          <p:cNvSpPr/>
          <p:nvPr/>
        </p:nvSpPr>
        <p:spPr>
          <a:xfrm>
            <a:off x="676063" y="319874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B1615407-0E60-46DB-BAB4-DEF47A4DCA25}"/>
              </a:ext>
            </a:extLst>
          </p:cNvPr>
          <p:cNvSpPr/>
          <p:nvPr/>
        </p:nvSpPr>
        <p:spPr>
          <a:xfrm>
            <a:off x="687406" y="275214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88AA0909-2AB0-4B5D-AA53-AA431F6853A8}"/>
              </a:ext>
            </a:extLst>
          </p:cNvPr>
          <p:cNvSpPr/>
          <p:nvPr/>
        </p:nvSpPr>
        <p:spPr>
          <a:xfrm>
            <a:off x="8948995" y="442867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24CA96EB-E291-463C-9355-3BA559BE4A21}"/>
              </a:ext>
            </a:extLst>
          </p:cNvPr>
          <p:cNvSpPr/>
          <p:nvPr/>
        </p:nvSpPr>
        <p:spPr>
          <a:xfrm>
            <a:off x="8960338" y="398207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4BB382BC-83F8-4AAE-AD58-EBBDCEA9199E}"/>
              </a:ext>
            </a:extLst>
          </p:cNvPr>
          <p:cNvSpPr/>
          <p:nvPr/>
        </p:nvSpPr>
        <p:spPr>
          <a:xfrm>
            <a:off x="8352393" y="4201491"/>
            <a:ext cx="472236" cy="4722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0D68B344-5394-44C3-A8EB-73EECF32B12A}"/>
              </a:ext>
            </a:extLst>
          </p:cNvPr>
          <p:cNvSpPr/>
          <p:nvPr/>
        </p:nvSpPr>
        <p:spPr>
          <a:xfrm>
            <a:off x="8513976" y="4339404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B636F86E-A05B-4222-8A65-7E062A89061D}"/>
              </a:ext>
            </a:extLst>
          </p:cNvPr>
          <p:cNvSpPr/>
          <p:nvPr/>
        </p:nvSpPr>
        <p:spPr>
          <a:xfrm>
            <a:off x="3367372" y="4201491"/>
            <a:ext cx="472236" cy="4722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896E7C15-CED2-4797-8D75-70A44A904BC5}"/>
              </a:ext>
            </a:extLst>
          </p:cNvPr>
          <p:cNvSpPr/>
          <p:nvPr/>
        </p:nvSpPr>
        <p:spPr>
          <a:xfrm>
            <a:off x="3512175" y="4339402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FD1B043E-4A63-4B34-B31A-ADF55F4C42F1}"/>
              </a:ext>
            </a:extLst>
          </p:cNvPr>
          <p:cNvSpPr/>
          <p:nvPr/>
        </p:nvSpPr>
        <p:spPr>
          <a:xfrm>
            <a:off x="676063" y="442867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9DB4597-5274-4C96-AE8F-52B682A1EE40}"/>
              </a:ext>
            </a:extLst>
          </p:cNvPr>
          <p:cNvSpPr/>
          <p:nvPr/>
        </p:nvSpPr>
        <p:spPr>
          <a:xfrm>
            <a:off x="687406" y="398207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4179656-BE58-45C4-9F89-297115203A44}"/>
              </a:ext>
            </a:extLst>
          </p:cNvPr>
          <p:cNvSpPr/>
          <p:nvPr/>
        </p:nvSpPr>
        <p:spPr>
          <a:xfrm>
            <a:off x="8948995" y="565860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03332723-D62A-4389-8A2D-38DAB5A12001}"/>
              </a:ext>
            </a:extLst>
          </p:cNvPr>
          <p:cNvSpPr/>
          <p:nvPr/>
        </p:nvSpPr>
        <p:spPr>
          <a:xfrm>
            <a:off x="8960338" y="521200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1E289F68-3E0E-47AB-887A-582F34185E71}"/>
              </a:ext>
            </a:extLst>
          </p:cNvPr>
          <p:cNvSpPr/>
          <p:nvPr/>
        </p:nvSpPr>
        <p:spPr>
          <a:xfrm>
            <a:off x="8352393" y="5431421"/>
            <a:ext cx="472236" cy="472236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EC8A8FA3-C549-4AD4-B19F-70438A299727}"/>
              </a:ext>
            </a:extLst>
          </p:cNvPr>
          <p:cNvSpPr/>
          <p:nvPr/>
        </p:nvSpPr>
        <p:spPr>
          <a:xfrm>
            <a:off x="8513976" y="5569334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8B7514F7-E48E-4CA6-9D41-0B2F4C7CC299}"/>
              </a:ext>
            </a:extLst>
          </p:cNvPr>
          <p:cNvSpPr/>
          <p:nvPr/>
        </p:nvSpPr>
        <p:spPr>
          <a:xfrm>
            <a:off x="3367372" y="5431421"/>
            <a:ext cx="472236" cy="472236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1189DC72-E452-40AC-9A11-20E4D871C5DF}"/>
              </a:ext>
            </a:extLst>
          </p:cNvPr>
          <p:cNvSpPr/>
          <p:nvPr/>
        </p:nvSpPr>
        <p:spPr>
          <a:xfrm>
            <a:off x="3512175" y="5569332"/>
            <a:ext cx="182631" cy="196415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D3CF3B6-9FE4-4DBA-8DA0-A756CFDCDCDF}"/>
              </a:ext>
            </a:extLst>
          </p:cNvPr>
          <p:cNvSpPr/>
          <p:nvPr/>
        </p:nvSpPr>
        <p:spPr>
          <a:xfrm>
            <a:off x="676063" y="565860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r"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4DDA27EE-2B5E-42FB-9720-06538596E1F7}"/>
              </a:ext>
            </a:extLst>
          </p:cNvPr>
          <p:cNvSpPr/>
          <p:nvPr/>
        </p:nvSpPr>
        <p:spPr>
          <a:xfrm>
            <a:off x="687406" y="521200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 algn="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574ACB7B-0A63-47C2-9450-95CF24060D13}"/>
              </a:ext>
            </a:extLst>
          </p:cNvPr>
          <p:cNvCxnSpPr/>
          <p:nvPr/>
        </p:nvCxnSpPr>
        <p:spPr>
          <a:xfrm>
            <a:off x="67606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6ECBE80B-83D1-4DC1-AF0B-02C3FC741C8A}"/>
              </a:ext>
            </a:extLst>
          </p:cNvPr>
          <p:cNvCxnSpPr/>
          <p:nvPr/>
        </p:nvCxnSpPr>
        <p:spPr>
          <a:xfrm>
            <a:off x="67606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A729D34-0CB4-4455-81EA-75A55556FD77}"/>
              </a:ext>
            </a:extLst>
          </p:cNvPr>
          <p:cNvCxnSpPr/>
          <p:nvPr/>
        </p:nvCxnSpPr>
        <p:spPr>
          <a:xfrm>
            <a:off x="67606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6228609-49FD-4322-B715-A3F850CE353F}"/>
              </a:ext>
            </a:extLst>
          </p:cNvPr>
          <p:cNvCxnSpPr/>
          <p:nvPr/>
        </p:nvCxnSpPr>
        <p:spPr>
          <a:xfrm>
            <a:off x="833573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D462090-9F42-48E8-A633-5D01496A2E54}"/>
              </a:ext>
            </a:extLst>
          </p:cNvPr>
          <p:cNvCxnSpPr/>
          <p:nvPr/>
        </p:nvCxnSpPr>
        <p:spPr>
          <a:xfrm>
            <a:off x="833573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3F0B62DD-432C-46C2-AB1D-9F479811886B}"/>
              </a:ext>
            </a:extLst>
          </p:cNvPr>
          <p:cNvCxnSpPr/>
          <p:nvPr/>
        </p:nvCxnSpPr>
        <p:spPr>
          <a:xfrm>
            <a:off x="833573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037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179069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3925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E282BC-0509-4B01-9048-437FA6075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E044ADA-90FE-4927-9E9F-EF9F20FAD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7130BC-9563-4602-9092-42F67B2DA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286D0CF-E5AD-4D93-A744-D908EE480164}"/>
              </a:ext>
            </a:extLst>
          </p:cNvPr>
          <p:cNvSpPr/>
          <p:nvPr/>
        </p:nvSpPr>
        <p:spPr bwMode="auto">
          <a:xfrm>
            <a:off x="2681819" y="1439501"/>
            <a:ext cx="2901748" cy="364856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CB42CCD-9EC1-4370-BDF2-18FB5B3BDAF3}"/>
              </a:ext>
            </a:extLst>
          </p:cNvPr>
          <p:cNvSpPr/>
          <p:nvPr/>
        </p:nvSpPr>
        <p:spPr bwMode="auto">
          <a:xfrm>
            <a:off x="5644259" y="1439501"/>
            <a:ext cx="2901748" cy="364856"/>
          </a:xfrm>
          <a:prstGeom prst="rect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E05016F4-8232-45C5-9E79-E98D8615FD5D}"/>
              </a:ext>
            </a:extLst>
          </p:cNvPr>
          <p:cNvSpPr/>
          <p:nvPr/>
        </p:nvSpPr>
        <p:spPr bwMode="auto">
          <a:xfrm>
            <a:off x="8606700" y="1439501"/>
            <a:ext cx="2901748" cy="364856"/>
          </a:xfrm>
          <a:prstGeom prst="rect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20XX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1B3A2211-E399-4EAA-A8D7-64C82AD52040}"/>
              </a:ext>
            </a:extLst>
          </p:cNvPr>
          <p:cNvCxnSpPr/>
          <p:nvPr/>
        </p:nvCxnSpPr>
        <p:spPr>
          <a:xfrm>
            <a:off x="669925" y="2912590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矩形 9">
            <a:extLst>
              <a:ext uri="{FF2B5EF4-FFF2-40B4-BE49-F238E27FC236}">
                <a16:creationId xmlns:a16="http://schemas.microsoft.com/office/drawing/2014/main" id="{1D3B8F55-6A8D-4D7E-9D02-C08CB6100717}"/>
              </a:ext>
            </a:extLst>
          </p:cNvPr>
          <p:cNvSpPr/>
          <p:nvPr/>
        </p:nvSpPr>
        <p:spPr bwMode="auto">
          <a:xfrm>
            <a:off x="672344" y="1804355"/>
            <a:ext cx="1239704" cy="110823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200" b="1" kern="0" dirty="0">
                <a:cs typeface="+mn-ea"/>
                <a:sym typeface="+mn-lt"/>
              </a:rPr>
              <a:t>Text Here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箭头: 五边形 10">
            <a:extLst>
              <a:ext uri="{FF2B5EF4-FFF2-40B4-BE49-F238E27FC236}">
                <a16:creationId xmlns:a16="http://schemas.microsoft.com/office/drawing/2014/main" id="{B27EB49B-5B3F-4087-85AF-0191424857C5}"/>
              </a:ext>
            </a:extLst>
          </p:cNvPr>
          <p:cNvSpPr/>
          <p:nvPr/>
        </p:nvSpPr>
        <p:spPr bwMode="auto">
          <a:xfrm>
            <a:off x="2681818" y="1950400"/>
            <a:ext cx="294622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2" name="箭头: 五边形 11">
            <a:extLst>
              <a:ext uri="{FF2B5EF4-FFF2-40B4-BE49-F238E27FC236}">
                <a16:creationId xmlns:a16="http://schemas.microsoft.com/office/drawing/2014/main" id="{11516D9B-4972-4002-80BD-A633F3AA5448}"/>
              </a:ext>
            </a:extLst>
          </p:cNvPr>
          <p:cNvSpPr/>
          <p:nvPr/>
        </p:nvSpPr>
        <p:spPr bwMode="auto">
          <a:xfrm>
            <a:off x="4621162" y="2401687"/>
            <a:ext cx="294622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E44902CB-0026-42FD-AF7E-B6D8C2F67846}"/>
              </a:ext>
            </a:extLst>
          </p:cNvPr>
          <p:cNvCxnSpPr/>
          <p:nvPr/>
        </p:nvCxnSpPr>
        <p:spPr>
          <a:xfrm>
            <a:off x="669925" y="4020823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矩形 13">
            <a:extLst>
              <a:ext uri="{FF2B5EF4-FFF2-40B4-BE49-F238E27FC236}">
                <a16:creationId xmlns:a16="http://schemas.microsoft.com/office/drawing/2014/main" id="{19263A17-9745-4A43-9FF5-A2041D3580B0}"/>
              </a:ext>
            </a:extLst>
          </p:cNvPr>
          <p:cNvSpPr/>
          <p:nvPr/>
        </p:nvSpPr>
        <p:spPr bwMode="auto">
          <a:xfrm>
            <a:off x="672344" y="2912588"/>
            <a:ext cx="1239704" cy="110823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200" b="1" kern="0" dirty="0">
                <a:cs typeface="+mn-ea"/>
                <a:sym typeface="+mn-lt"/>
              </a:rPr>
              <a:t>Text Here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箭头: 五边形 14">
            <a:extLst>
              <a:ext uri="{FF2B5EF4-FFF2-40B4-BE49-F238E27FC236}">
                <a16:creationId xmlns:a16="http://schemas.microsoft.com/office/drawing/2014/main" id="{5C0D4710-0056-4D5C-8EDC-D40132D80576}"/>
              </a:ext>
            </a:extLst>
          </p:cNvPr>
          <p:cNvSpPr/>
          <p:nvPr/>
        </p:nvSpPr>
        <p:spPr bwMode="auto">
          <a:xfrm>
            <a:off x="3782712" y="3058633"/>
            <a:ext cx="294622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6" name="箭头: 五边形 15">
            <a:extLst>
              <a:ext uri="{FF2B5EF4-FFF2-40B4-BE49-F238E27FC236}">
                <a16:creationId xmlns:a16="http://schemas.microsoft.com/office/drawing/2014/main" id="{3DE335C6-0EED-470F-A925-1684326B867A}"/>
              </a:ext>
            </a:extLst>
          </p:cNvPr>
          <p:cNvSpPr/>
          <p:nvPr/>
        </p:nvSpPr>
        <p:spPr bwMode="auto">
          <a:xfrm>
            <a:off x="6445860" y="3509920"/>
            <a:ext cx="294622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>
                <a:cs typeface="+mn-ea"/>
                <a:sym typeface="+mn-lt"/>
              </a:rPr>
              <a:t>Supporting text here</a:t>
            </a:r>
            <a:endParaRPr lang="en-US" altLang="zh-CN" sz="1000" kern="0" dirty="0">
              <a:cs typeface="+mn-ea"/>
              <a:sym typeface="+mn-lt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2259C25E-7E98-4C8E-B13F-1E48954E3287}"/>
              </a:ext>
            </a:extLst>
          </p:cNvPr>
          <p:cNvCxnSpPr/>
          <p:nvPr/>
        </p:nvCxnSpPr>
        <p:spPr>
          <a:xfrm>
            <a:off x="669925" y="5129055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050301B6-C6E9-41E7-B898-C320B22FE35B}"/>
              </a:ext>
            </a:extLst>
          </p:cNvPr>
          <p:cNvSpPr/>
          <p:nvPr/>
        </p:nvSpPr>
        <p:spPr bwMode="auto">
          <a:xfrm>
            <a:off x="672344" y="4020821"/>
            <a:ext cx="1239704" cy="110823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200" b="1" kern="0" dirty="0">
                <a:cs typeface="+mn-ea"/>
                <a:sym typeface="+mn-lt"/>
              </a:rPr>
              <a:t>Text Here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箭头: 五边形 18">
            <a:extLst>
              <a:ext uri="{FF2B5EF4-FFF2-40B4-BE49-F238E27FC236}">
                <a16:creationId xmlns:a16="http://schemas.microsoft.com/office/drawing/2014/main" id="{A1CAA90D-22E7-49E5-85CA-581E0647E2C6}"/>
              </a:ext>
            </a:extLst>
          </p:cNvPr>
          <p:cNvSpPr/>
          <p:nvPr/>
        </p:nvSpPr>
        <p:spPr bwMode="auto">
          <a:xfrm>
            <a:off x="3099669" y="4166866"/>
            <a:ext cx="3342815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0" name="箭头: 五边形 19">
            <a:extLst>
              <a:ext uri="{FF2B5EF4-FFF2-40B4-BE49-F238E27FC236}">
                <a16:creationId xmlns:a16="http://schemas.microsoft.com/office/drawing/2014/main" id="{A21AE262-CF02-4CD6-B749-4D0F0E239E50}"/>
              </a:ext>
            </a:extLst>
          </p:cNvPr>
          <p:cNvSpPr/>
          <p:nvPr/>
        </p:nvSpPr>
        <p:spPr bwMode="auto">
          <a:xfrm>
            <a:off x="4621162" y="4618152"/>
            <a:ext cx="5884009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30F7504-46B5-4DAE-8D22-1BA41481DCD5}"/>
              </a:ext>
            </a:extLst>
          </p:cNvPr>
          <p:cNvCxnSpPr/>
          <p:nvPr/>
        </p:nvCxnSpPr>
        <p:spPr>
          <a:xfrm>
            <a:off x="669925" y="6237288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11012B08-C859-4ED7-B3ED-9AD890001814}"/>
              </a:ext>
            </a:extLst>
          </p:cNvPr>
          <p:cNvSpPr/>
          <p:nvPr/>
        </p:nvSpPr>
        <p:spPr bwMode="auto">
          <a:xfrm>
            <a:off x="672344" y="5129054"/>
            <a:ext cx="1239704" cy="110823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200" b="1" kern="0" dirty="0">
                <a:cs typeface="+mn-ea"/>
                <a:sym typeface="+mn-lt"/>
              </a:rPr>
              <a:t>Text Here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3" name="箭头: 五边形 22">
            <a:extLst>
              <a:ext uri="{FF2B5EF4-FFF2-40B4-BE49-F238E27FC236}">
                <a16:creationId xmlns:a16="http://schemas.microsoft.com/office/drawing/2014/main" id="{43946F4C-7E0F-4813-A142-1370F526F8EE}"/>
              </a:ext>
            </a:extLst>
          </p:cNvPr>
          <p:cNvSpPr/>
          <p:nvPr/>
        </p:nvSpPr>
        <p:spPr bwMode="auto">
          <a:xfrm>
            <a:off x="4840719" y="5275098"/>
            <a:ext cx="294622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4" name="箭头: 五边形 23">
            <a:extLst>
              <a:ext uri="{FF2B5EF4-FFF2-40B4-BE49-F238E27FC236}">
                <a16:creationId xmlns:a16="http://schemas.microsoft.com/office/drawing/2014/main" id="{3EBA45B0-3BEF-4BB4-931F-59E2AAEF0108}"/>
              </a:ext>
            </a:extLst>
          </p:cNvPr>
          <p:cNvSpPr/>
          <p:nvPr/>
        </p:nvSpPr>
        <p:spPr bwMode="auto">
          <a:xfrm>
            <a:off x="6094273" y="5726385"/>
            <a:ext cx="5024853" cy="36485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000" kern="0" dirty="0">
                <a:cs typeface="+mn-ea"/>
                <a:sym typeface="+mn-lt"/>
              </a:rPr>
              <a:t>Supporting text here</a:t>
            </a:r>
          </a:p>
        </p:txBody>
      </p:sp>
    </p:spTree>
    <p:extLst>
      <p:ext uri="{BB962C8B-B14F-4D97-AF65-F5344CB8AC3E}">
        <p14:creationId xmlns:p14="http://schemas.microsoft.com/office/powerpoint/2010/main" val="1538584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7EC5567-D9E8-4837-8C4C-C9FA1970A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B0D85B0-4393-4FE2-A271-CC7481AB8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F2357AB-030E-4D3E-8ECE-F50F3B389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3870421-0EF4-47C2-BDB9-C53C20FAD396}"/>
              </a:ext>
            </a:extLst>
          </p:cNvPr>
          <p:cNvSpPr/>
          <p:nvPr/>
        </p:nvSpPr>
        <p:spPr>
          <a:xfrm>
            <a:off x="365125" y="4274669"/>
            <a:ext cx="207076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8F7E9F4-0CEB-4C24-819F-26347AC10BFB}"/>
              </a:ext>
            </a:extLst>
          </p:cNvPr>
          <p:cNvSpPr/>
          <p:nvPr/>
        </p:nvSpPr>
        <p:spPr>
          <a:xfrm>
            <a:off x="657140" y="3966426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D093387E-7CAA-4665-9627-A0AF8F1F0F35}"/>
              </a:ext>
            </a:extLst>
          </p:cNvPr>
          <p:cNvSpPr/>
          <p:nvPr/>
        </p:nvSpPr>
        <p:spPr>
          <a:xfrm>
            <a:off x="4986023" y="4274669"/>
            <a:ext cx="221871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DB15DF2E-F360-47C0-BD20-3621DC58F53B}"/>
              </a:ext>
            </a:extLst>
          </p:cNvPr>
          <p:cNvSpPr/>
          <p:nvPr/>
        </p:nvSpPr>
        <p:spPr>
          <a:xfrm>
            <a:off x="5425996" y="3966426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5F48B61-8FA4-4C6C-BAAA-4351ACDD2789}"/>
              </a:ext>
            </a:extLst>
          </p:cNvPr>
          <p:cNvSpPr/>
          <p:nvPr/>
        </p:nvSpPr>
        <p:spPr>
          <a:xfrm>
            <a:off x="7370451" y="4274669"/>
            <a:ext cx="221871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8198DF7-7577-40AF-AF81-1B49BA0AC746}"/>
              </a:ext>
            </a:extLst>
          </p:cNvPr>
          <p:cNvSpPr/>
          <p:nvPr/>
        </p:nvSpPr>
        <p:spPr>
          <a:xfrm>
            <a:off x="7810424" y="3966426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CA32B3F5-AB21-469A-BDEA-FDED6C251267}"/>
              </a:ext>
            </a:extLst>
          </p:cNvPr>
          <p:cNvSpPr/>
          <p:nvPr/>
        </p:nvSpPr>
        <p:spPr>
          <a:xfrm>
            <a:off x="9754878" y="4274669"/>
            <a:ext cx="2070410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D75BEDBB-1103-46B2-8B64-406BC553515C}"/>
              </a:ext>
            </a:extLst>
          </p:cNvPr>
          <p:cNvSpPr/>
          <p:nvPr/>
        </p:nvSpPr>
        <p:spPr>
          <a:xfrm>
            <a:off x="10194851" y="3966426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BB35CE3-77E5-483B-9F79-1C86FE70EF36}"/>
              </a:ext>
            </a:extLst>
          </p:cNvPr>
          <p:cNvSpPr/>
          <p:nvPr/>
        </p:nvSpPr>
        <p:spPr>
          <a:xfrm>
            <a:off x="4986641" y="1748106"/>
            <a:ext cx="221871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F9FB8E1-2C36-40B6-9531-9948C0F1E1B3}"/>
              </a:ext>
            </a:extLst>
          </p:cNvPr>
          <p:cNvSpPr/>
          <p:nvPr/>
        </p:nvSpPr>
        <p:spPr>
          <a:xfrm>
            <a:off x="5426614" y="1439863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cxnSp>
        <p:nvCxnSpPr>
          <p:cNvPr id="16" name="连接符: 肘形 15">
            <a:extLst>
              <a:ext uri="{FF2B5EF4-FFF2-40B4-BE49-F238E27FC236}">
                <a16:creationId xmlns:a16="http://schemas.microsoft.com/office/drawing/2014/main" id="{B197851E-9B77-4658-A744-973964B3F040}"/>
              </a:ext>
            </a:extLst>
          </p:cNvPr>
          <p:cNvCxnSpPr>
            <a:cxnSpLocks/>
            <a:stCxn id="21" idx="4"/>
            <a:endCxn id="23" idx="0"/>
          </p:cNvCxnSpPr>
          <p:nvPr/>
        </p:nvCxnSpPr>
        <p:spPr>
          <a:xfrm rot="5400000">
            <a:off x="3463833" y="834581"/>
            <a:ext cx="494860" cy="4769474"/>
          </a:xfrm>
          <a:prstGeom prst="bentConnector3">
            <a:avLst>
              <a:gd name="adj1" fmla="val 44457"/>
            </a:avLst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连接符: 肘形 16">
            <a:extLst>
              <a:ext uri="{FF2B5EF4-FFF2-40B4-BE49-F238E27FC236}">
                <a16:creationId xmlns:a16="http://schemas.microsoft.com/office/drawing/2014/main" id="{0F88B715-FDC2-4B90-995B-DB00482EF5BC}"/>
              </a:ext>
            </a:extLst>
          </p:cNvPr>
          <p:cNvCxnSpPr>
            <a:stCxn id="21" idx="4"/>
            <a:endCxn id="27" idx="0"/>
          </p:cNvCxnSpPr>
          <p:nvPr/>
        </p:nvCxnSpPr>
        <p:spPr>
          <a:xfrm rot="5400000">
            <a:off x="4656047" y="2026795"/>
            <a:ext cx="494860" cy="2385046"/>
          </a:xfrm>
          <a:prstGeom prst="bentConnector3">
            <a:avLst>
              <a:gd name="adj1" fmla="val 43361"/>
            </a:avLst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连接符: 肘形 17">
            <a:extLst>
              <a:ext uri="{FF2B5EF4-FFF2-40B4-BE49-F238E27FC236}">
                <a16:creationId xmlns:a16="http://schemas.microsoft.com/office/drawing/2014/main" id="{155C9BC0-E52D-4CF1-AE0E-0157865CE349}"/>
              </a:ext>
            </a:extLst>
          </p:cNvPr>
          <p:cNvCxnSpPr>
            <a:stCxn id="21" idx="4"/>
            <a:endCxn id="29" idx="0"/>
          </p:cNvCxnSpPr>
          <p:nvPr/>
        </p:nvCxnSpPr>
        <p:spPr>
          <a:xfrm rot="5400000">
            <a:off x="5848261" y="3219009"/>
            <a:ext cx="494860" cy="618"/>
          </a:xfrm>
          <a:prstGeom prst="bentConnector3">
            <a:avLst/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连接符: 肘形 18">
            <a:extLst>
              <a:ext uri="{FF2B5EF4-FFF2-40B4-BE49-F238E27FC236}">
                <a16:creationId xmlns:a16="http://schemas.microsoft.com/office/drawing/2014/main" id="{485B2E95-3CED-4E9E-B09C-64D2E5E89BC6}"/>
              </a:ext>
            </a:extLst>
          </p:cNvPr>
          <p:cNvCxnSpPr>
            <a:stCxn id="21" idx="4"/>
            <a:endCxn id="31" idx="0"/>
          </p:cNvCxnSpPr>
          <p:nvPr/>
        </p:nvCxnSpPr>
        <p:spPr>
          <a:xfrm rot="16200000" flipH="1">
            <a:off x="7040475" y="2027413"/>
            <a:ext cx="494860" cy="2383810"/>
          </a:xfrm>
          <a:prstGeom prst="bentConnector3">
            <a:avLst>
              <a:gd name="adj1" fmla="val 43361"/>
            </a:avLst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连接符: 肘形 19">
            <a:extLst>
              <a:ext uri="{FF2B5EF4-FFF2-40B4-BE49-F238E27FC236}">
                <a16:creationId xmlns:a16="http://schemas.microsoft.com/office/drawing/2014/main" id="{B10B4CF1-07E5-422B-BE16-86448E4FC1EE}"/>
              </a:ext>
            </a:extLst>
          </p:cNvPr>
          <p:cNvCxnSpPr>
            <a:stCxn id="21" idx="4"/>
            <a:endCxn id="33" idx="0"/>
          </p:cNvCxnSpPr>
          <p:nvPr/>
        </p:nvCxnSpPr>
        <p:spPr>
          <a:xfrm rot="16200000" flipH="1">
            <a:off x="8232688" y="835199"/>
            <a:ext cx="494860" cy="4768237"/>
          </a:xfrm>
          <a:prstGeom prst="bentConnector3">
            <a:avLst>
              <a:gd name="adj1" fmla="val 42415"/>
            </a:avLst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椭圆 20">
            <a:extLst>
              <a:ext uri="{FF2B5EF4-FFF2-40B4-BE49-F238E27FC236}">
                <a16:creationId xmlns:a16="http://schemas.microsoft.com/office/drawing/2014/main" id="{859AC9AD-A613-46CE-ACF2-236820030F5A}"/>
              </a:ext>
            </a:extLst>
          </p:cNvPr>
          <p:cNvSpPr/>
          <p:nvPr/>
        </p:nvSpPr>
        <p:spPr>
          <a:xfrm>
            <a:off x="5790719" y="2361326"/>
            <a:ext cx="610562" cy="61056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DBDFC0CF-36B2-4BFF-85DC-3DAD21D1304B}"/>
              </a:ext>
            </a:extLst>
          </p:cNvPr>
          <p:cNvSpPr/>
          <p:nvPr/>
        </p:nvSpPr>
        <p:spPr>
          <a:xfrm>
            <a:off x="5969025" y="2539824"/>
            <a:ext cx="253949" cy="253567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AB3E368E-4304-4901-AA70-BCB1AADBF034}"/>
              </a:ext>
            </a:extLst>
          </p:cNvPr>
          <p:cNvSpPr/>
          <p:nvPr/>
        </p:nvSpPr>
        <p:spPr>
          <a:xfrm>
            <a:off x="1118975" y="3466748"/>
            <a:ext cx="415102" cy="41510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044A3430-008F-49CE-881E-09D6AA3F68F4}"/>
              </a:ext>
            </a:extLst>
          </p:cNvPr>
          <p:cNvSpPr/>
          <p:nvPr/>
        </p:nvSpPr>
        <p:spPr>
          <a:xfrm>
            <a:off x="1282011" y="3587973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0C86140-E553-4D1C-A473-DBB567F48AFB}"/>
              </a:ext>
            </a:extLst>
          </p:cNvPr>
          <p:cNvSpPr/>
          <p:nvPr/>
        </p:nvSpPr>
        <p:spPr>
          <a:xfrm>
            <a:off x="2601595" y="4274669"/>
            <a:ext cx="2218718" cy="523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CFC22DC-A8AF-4CF3-90BD-68861AFBF388}"/>
              </a:ext>
            </a:extLst>
          </p:cNvPr>
          <p:cNvSpPr/>
          <p:nvPr/>
        </p:nvSpPr>
        <p:spPr>
          <a:xfrm>
            <a:off x="3041568" y="3966426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B4F7AD72-081C-4612-985F-FBC68CAFB666}"/>
              </a:ext>
            </a:extLst>
          </p:cNvPr>
          <p:cNvSpPr/>
          <p:nvPr/>
        </p:nvSpPr>
        <p:spPr>
          <a:xfrm>
            <a:off x="3503403" y="3466748"/>
            <a:ext cx="415102" cy="41510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D83B2882-9641-4983-934E-3B4D1550D153}"/>
              </a:ext>
            </a:extLst>
          </p:cNvPr>
          <p:cNvSpPr/>
          <p:nvPr/>
        </p:nvSpPr>
        <p:spPr>
          <a:xfrm>
            <a:off x="3666439" y="3587973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C96BAE8F-6C1E-425F-90CC-72D8FFBD3D84}"/>
              </a:ext>
            </a:extLst>
          </p:cNvPr>
          <p:cNvSpPr/>
          <p:nvPr/>
        </p:nvSpPr>
        <p:spPr>
          <a:xfrm>
            <a:off x="5887831" y="3466748"/>
            <a:ext cx="415102" cy="41510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A5746A6E-3795-4ED7-954B-1AC4D7DE114E}"/>
              </a:ext>
            </a:extLst>
          </p:cNvPr>
          <p:cNvSpPr/>
          <p:nvPr/>
        </p:nvSpPr>
        <p:spPr>
          <a:xfrm>
            <a:off x="6050867" y="3587973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49F2B3CE-EFBF-4189-8A74-55A12115EE3F}"/>
              </a:ext>
            </a:extLst>
          </p:cNvPr>
          <p:cNvSpPr/>
          <p:nvPr/>
        </p:nvSpPr>
        <p:spPr>
          <a:xfrm>
            <a:off x="8272259" y="3466748"/>
            <a:ext cx="415102" cy="41510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387ECE01-FE6B-45A6-B773-513690EF5F08}"/>
              </a:ext>
            </a:extLst>
          </p:cNvPr>
          <p:cNvSpPr/>
          <p:nvPr/>
        </p:nvSpPr>
        <p:spPr>
          <a:xfrm>
            <a:off x="8435295" y="3587973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04CE206E-B3A4-4AD6-88FE-E574D02D8924}"/>
              </a:ext>
            </a:extLst>
          </p:cNvPr>
          <p:cNvSpPr/>
          <p:nvPr/>
        </p:nvSpPr>
        <p:spPr>
          <a:xfrm>
            <a:off x="10656686" y="3466748"/>
            <a:ext cx="415102" cy="415102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 defTabSz="914377"/>
            <a:endParaRPr sz="1400" b="1" kern="0"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BF902CD1-B048-4857-8AF5-CEB9A7C51446}"/>
              </a:ext>
            </a:extLst>
          </p:cNvPr>
          <p:cNvSpPr/>
          <p:nvPr/>
        </p:nvSpPr>
        <p:spPr>
          <a:xfrm>
            <a:off x="10819722" y="3587973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5DDDC212-E612-47AE-BF04-4F13BF4785B2}"/>
              </a:ext>
            </a:extLst>
          </p:cNvPr>
          <p:cNvCxnSpPr>
            <a:stCxn id="25" idx="2"/>
            <a:endCxn id="43" idx="0"/>
          </p:cNvCxnSpPr>
          <p:nvPr/>
        </p:nvCxnSpPr>
        <p:spPr>
          <a:xfrm>
            <a:off x="3710954" y="4798640"/>
            <a:ext cx="0" cy="233716"/>
          </a:xfrm>
          <a:prstGeom prst="line">
            <a:avLst/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5D193348-54FD-4D55-9DDE-F81A1A8224BF}"/>
              </a:ext>
            </a:extLst>
          </p:cNvPr>
          <p:cNvCxnSpPr>
            <a:stCxn id="10" idx="2"/>
            <a:endCxn id="39" idx="0"/>
          </p:cNvCxnSpPr>
          <p:nvPr/>
        </p:nvCxnSpPr>
        <p:spPr>
          <a:xfrm>
            <a:off x="8479810" y="4798640"/>
            <a:ext cx="0" cy="233716"/>
          </a:xfrm>
          <a:prstGeom prst="line">
            <a:avLst/>
          </a:prstGeom>
          <a:ln w="28575" cap="rnd">
            <a:solidFill>
              <a:schemeClr val="tx2">
                <a:lumMod val="20000"/>
                <a:lumOff val="80000"/>
              </a:schemeClr>
            </a:solidFill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矩形 36">
            <a:extLst>
              <a:ext uri="{FF2B5EF4-FFF2-40B4-BE49-F238E27FC236}">
                <a16:creationId xmlns:a16="http://schemas.microsoft.com/office/drawing/2014/main" id="{3F694A73-E82D-4F5A-B361-FFFABB96D52C}"/>
              </a:ext>
            </a:extLst>
          </p:cNvPr>
          <p:cNvSpPr/>
          <p:nvPr/>
        </p:nvSpPr>
        <p:spPr>
          <a:xfrm>
            <a:off x="7370451" y="5840277"/>
            <a:ext cx="2218718" cy="39701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8DF6C32B-D620-4736-B0F6-90C312D17D68}"/>
              </a:ext>
            </a:extLst>
          </p:cNvPr>
          <p:cNvSpPr/>
          <p:nvPr/>
        </p:nvSpPr>
        <p:spPr>
          <a:xfrm>
            <a:off x="7810424" y="5532034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39" name="椭圆 38">
            <a:extLst>
              <a:ext uri="{FF2B5EF4-FFF2-40B4-BE49-F238E27FC236}">
                <a16:creationId xmlns:a16="http://schemas.microsoft.com/office/drawing/2014/main" id="{F76B4E97-E4E6-496D-BFA7-377D5253613B}"/>
              </a:ext>
            </a:extLst>
          </p:cNvPr>
          <p:cNvSpPr/>
          <p:nvPr/>
        </p:nvSpPr>
        <p:spPr>
          <a:xfrm>
            <a:off x="8272259" y="5032356"/>
            <a:ext cx="415102" cy="4151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4DF3CA67-EDFC-4372-90FA-49DDAB30243C}"/>
              </a:ext>
            </a:extLst>
          </p:cNvPr>
          <p:cNvSpPr/>
          <p:nvPr/>
        </p:nvSpPr>
        <p:spPr>
          <a:xfrm>
            <a:off x="8435295" y="5153581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129764C3-B856-47D6-8B9E-2C052BB51C2F}"/>
              </a:ext>
            </a:extLst>
          </p:cNvPr>
          <p:cNvSpPr/>
          <p:nvPr/>
        </p:nvSpPr>
        <p:spPr>
          <a:xfrm>
            <a:off x="2601595" y="5840277"/>
            <a:ext cx="2218718" cy="39701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lnSpc>
                <a:spcPct val="120000"/>
              </a:lnSpc>
              <a:buSzPct val="25000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21AA74B9-0B36-4CC0-9D72-DF414B3FD4B3}"/>
              </a:ext>
            </a:extLst>
          </p:cNvPr>
          <p:cNvSpPr/>
          <p:nvPr/>
        </p:nvSpPr>
        <p:spPr>
          <a:xfrm>
            <a:off x="3041568" y="5532034"/>
            <a:ext cx="1338772" cy="39256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Text Here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B26D724E-180D-4CFA-B351-2E8DDA4DFDEC}"/>
              </a:ext>
            </a:extLst>
          </p:cNvPr>
          <p:cNvSpPr/>
          <p:nvPr/>
        </p:nvSpPr>
        <p:spPr>
          <a:xfrm>
            <a:off x="3503403" y="5032356"/>
            <a:ext cx="415102" cy="41510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C589CFFF-B9A4-44D4-8472-20E5DBED8A5A}"/>
              </a:ext>
            </a:extLst>
          </p:cNvPr>
          <p:cNvSpPr/>
          <p:nvPr/>
        </p:nvSpPr>
        <p:spPr>
          <a:xfrm>
            <a:off x="3666439" y="5153581"/>
            <a:ext cx="89031" cy="172652"/>
          </a:xfrm>
          <a:custGeom>
            <a:avLst/>
            <a:gdLst>
              <a:gd name="connsiteX0" fmla="*/ 159127 w 313668"/>
              <a:gd name="connsiteY0" fmla="*/ 411396 h 608274"/>
              <a:gd name="connsiteX1" fmla="*/ 159127 w 313668"/>
              <a:gd name="connsiteY1" fmla="*/ 577440 h 608274"/>
              <a:gd name="connsiteX2" fmla="*/ 128336 w 313668"/>
              <a:gd name="connsiteY2" fmla="*/ 608274 h 608274"/>
              <a:gd name="connsiteX3" fmla="*/ 97453 w 313668"/>
              <a:gd name="connsiteY3" fmla="*/ 577440 h 608274"/>
              <a:gd name="connsiteX4" fmla="*/ 97453 w 313668"/>
              <a:gd name="connsiteY4" fmla="*/ 458706 h 608274"/>
              <a:gd name="connsiteX5" fmla="*/ 128221 w 313668"/>
              <a:gd name="connsiteY5" fmla="*/ 306395 h 608274"/>
              <a:gd name="connsiteX6" fmla="*/ 168122 w 313668"/>
              <a:gd name="connsiteY6" fmla="*/ 358410 h 608274"/>
              <a:gd name="connsiteX7" fmla="*/ 171347 w 313668"/>
              <a:gd name="connsiteY7" fmla="*/ 370377 h 608274"/>
              <a:gd name="connsiteX8" fmla="*/ 165173 w 313668"/>
              <a:gd name="connsiteY8" fmla="*/ 381149 h 608274"/>
              <a:gd name="connsiteX9" fmla="*/ 71917 w 313668"/>
              <a:gd name="connsiteY9" fmla="*/ 452588 h 608274"/>
              <a:gd name="connsiteX10" fmla="*/ 62057 w 313668"/>
              <a:gd name="connsiteY10" fmla="*/ 455994 h 608274"/>
              <a:gd name="connsiteX11" fmla="*/ 49156 w 313668"/>
              <a:gd name="connsiteY11" fmla="*/ 449642 h 608274"/>
              <a:gd name="connsiteX12" fmla="*/ 3357 w 313668"/>
              <a:gd name="connsiteY12" fmla="*/ 390079 h 608274"/>
              <a:gd name="connsiteX13" fmla="*/ 132 w 313668"/>
              <a:gd name="connsiteY13" fmla="*/ 378019 h 608274"/>
              <a:gd name="connsiteX14" fmla="*/ 6398 w 313668"/>
              <a:gd name="connsiteY14" fmla="*/ 367339 h 608274"/>
              <a:gd name="connsiteX15" fmla="*/ 9162 w 313668"/>
              <a:gd name="connsiteY15" fmla="*/ 365130 h 608274"/>
              <a:gd name="connsiteX16" fmla="*/ 43904 w 313668"/>
              <a:gd name="connsiteY16" fmla="*/ 407754 h 608274"/>
              <a:gd name="connsiteX17" fmla="*/ 59661 w 313668"/>
              <a:gd name="connsiteY17" fmla="*/ 410240 h 608274"/>
              <a:gd name="connsiteX18" fmla="*/ 107948 w 313668"/>
              <a:gd name="connsiteY18" fmla="*/ 375165 h 608274"/>
              <a:gd name="connsiteX19" fmla="*/ 126009 w 313668"/>
              <a:gd name="connsiteY19" fmla="*/ 319836 h 608274"/>
              <a:gd name="connsiteX20" fmla="*/ 128221 w 313668"/>
              <a:gd name="connsiteY20" fmla="*/ 306395 h 608274"/>
              <a:gd name="connsiteX21" fmla="*/ 163534 w 313668"/>
              <a:gd name="connsiteY21" fmla="*/ 163741 h 608274"/>
              <a:gd name="connsiteX22" fmla="*/ 160861 w 313668"/>
              <a:gd name="connsiteY22" fmla="*/ 166411 h 608274"/>
              <a:gd name="connsiteX23" fmla="*/ 160861 w 313668"/>
              <a:gd name="connsiteY23" fmla="*/ 185098 h 608274"/>
              <a:gd name="connsiteX24" fmla="*/ 163534 w 313668"/>
              <a:gd name="connsiteY24" fmla="*/ 187767 h 608274"/>
              <a:gd name="connsiteX25" fmla="*/ 179484 w 313668"/>
              <a:gd name="connsiteY25" fmla="*/ 187767 h 608274"/>
              <a:gd name="connsiteX26" fmla="*/ 182157 w 313668"/>
              <a:gd name="connsiteY26" fmla="*/ 185098 h 608274"/>
              <a:gd name="connsiteX27" fmla="*/ 182157 w 313668"/>
              <a:gd name="connsiteY27" fmla="*/ 166411 h 608274"/>
              <a:gd name="connsiteX28" fmla="*/ 179484 w 313668"/>
              <a:gd name="connsiteY28" fmla="*/ 163741 h 608274"/>
              <a:gd name="connsiteX29" fmla="*/ 131358 w 313668"/>
              <a:gd name="connsiteY29" fmla="*/ 155456 h 608274"/>
              <a:gd name="connsiteX30" fmla="*/ 211383 w 313668"/>
              <a:gd name="connsiteY30" fmla="*/ 155456 h 608274"/>
              <a:gd name="connsiteX31" fmla="*/ 260338 w 313668"/>
              <a:gd name="connsiteY31" fmla="*/ 190989 h 608274"/>
              <a:gd name="connsiteX32" fmla="*/ 312151 w 313668"/>
              <a:gd name="connsiteY32" fmla="*/ 350060 h 608274"/>
              <a:gd name="connsiteX33" fmla="*/ 292606 w 313668"/>
              <a:gd name="connsiteY33" fmla="*/ 388447 h 608274"/>
              <a:gd name="connsiteX34" fmla="*/ 283110 w 313668"/>
              <a:gd name="connsiteY34" fmla="*/ 389920 h 608274"/>
              <a:gd name="connsiteX35" fmla="*/ 254069 w 313668"/>
              <a:gd name="connsiteY35" fmla="*/ 368931 h 608274"/>
              <a:gd name="connsiteX36" fmla="*/ 245310 w 313668"/>
              <a:gd name="connsiteY36" fmla="*/ 341867 h 608274"/>
              <a:gd name="connsiteX37" fmla="*/ 245310 w 313668"/>
              <a:gd name="connsiteY37" fmla="*/ 383108 h 608274"/>
              <a:gd name="connsiteX38" fmla="*/ 245310 w 313668"/>
              <a:gd name="connsiteY38" fmla="*/ 577436 h 608274"/>
              <a:gd name="connsiteX39" fmla="*/ 214425 w 313668"/>
              <a:gd name="connsiteY39" fmla="*/ 608274 h 608274"/>
              <a:gd name="connsiteX40" fmla="*/ 183540 w 313668"/>
              <a:gd name="connsiteY40" fmla="*/ 577436 h 608274"/>
              <a:gd name="connsiteX41" fmla="*/ 183540 w 313668"/>
              <a:gd name="connsiteY41" fmla="*/ 391301 h 608274"/>
              <a:gd name="connsiteX42" fmla="*/ 191561 w 313668"/>
              <a:gd name="connsiteY42" fmla="*/ 373074 h 608274"/>
              <a:gd name="connsiteX43" fmla="*/ 184278 w 313668"/>
              <a:gd name="connsiteY43" fmla="*/ 346102 h 608274"/>
              <a:gd name="connsiteX44" fmla="*/ 181789 w 313668"/>
              <a:gd name="connsiteY44" fmla="*/ 342788 h 608274"/>
              <a:gd name="connsiteX45" fmla="*/ 197646 w 313668"/>
              <a:gd name="connsiteY45" fmla="*/ 323825 h 608274"/>
              <a:gd name="connsiteX46" fmla="*/ 201242 w 313668"/>
              <a:gd name="connsiteY46" fmla="*/ 310661 h 608274"/>
              <a:gd name="connsiteX47" fmla="*/ 185015 w 313668"/>
              <a:gd name="connsiteY47" fmla="*/ 216396 h 608274"/>
              <a:gd name="connsiteX48" fmla="*/ 182526 w 313668"/>
              <a:gd name="connsiteY48" fmla="*/ 201760 h 608274"/>
              <a:gd name="connsiteX49" fmla="*/ 179853 w 313668"/>
              <a:gd name="connsiteY49" fmla="*/ 199550 h 608274"/>
              <a:gd name="connsiteX50" fmla="*/ 162797 w 313668"/>
              <a:gd name="connsiteY50" fmla="*/ 199550 h 608274"/>
              <a:gd name="connsiteX51" fmla="*/ 160123 w 313668"/>
              <a:gd name="connsiteY51" fmla="*/ 201760 h 608274"/>
              <a:gd name="connsiteX52" fmla="*/ 157634 w 313668"/>
              <a:gd name="connsiteY52" fmla="*/ 216396 h 608274"/>
              <a:gd name="connsiteX53" fmla="*/ 144266 w 313668"/>
              <a:gd name="connsiteY53" fmla="*/ 293999 h 608274"/>
              <a:gd name="connsiteX54" fmla="*/ 138550 w 313668"/>
              <a:gd name="connsiteY54" fmla="*/ 286450 h 608274"/>
              <a:gd name="connsiteX55" fmla="*/ 119650 w 313668"/>
              <a:gd name="connsiteY55" fmla="*/ 273747 h 608274"/>
              <a:gd name="connsiteX56" fmla="*/ 119189 w 313668"/>
              <a:gd name="connsiteY56" fmla="*/ 275127 h 608274"/>
              <a:gd name="connsiteX57" fmla="*/ 88580 w 313668"/>
              <a:gd name="connsiteY57" fmla="*/ 368931 h 608274"/>
              <a:gd name="connsiteX58" fmla="*/ 50135 w 313668"/>
              <a:gd name="connsiteY58" fmla="*/ 388447 h 608274"/>
              <a:gd name="connsiteX59" fmla="*/ 30590 w 313668"/>
              <a:gd name="connsiteY59" fmla="*/ 350060 h 608274"/>
              <a:gd name="connsiteX60" fmla="*/ 61107 w 313668"/>
              <a:gd name="connsiteY60" fmla="*/ 256256 h 608274"/>
              <a:gd name="connsiteX61" fmla="*/ 82403 w 313668"/>
              <a:gd name="connsiteY61" fmla="*/ 190989 h 608274"/>
              <a:gd name="connsiteX62" fmla="*/ 131358 w 313668"/>
              <a:gd name="connsiteY62" fmla="*/ 155456 h 608274"/>
              <a:gd name="connsiteX63" fmla="*/ 171336 w 313668"/>
              <a:gd name="connsiteY63" fmla="*/ 0 h 608274"/>
              <a:gd name="connsiteX64" fmla="*/ 238585 w 313668"/>
              <a:gd name="connsiteY64" fmla="*/ 67108 h 608274"/>
              <a:gd name="connsiteX65" fmla="*/ 171336 w 313668"/>
              <a:gd name="connsiteY65" fmla="*/ 134216 h 608274"/>
              <a:gd name="connsiteX66" fmla="*/ 104087 w 313668"/>
              <a:gd name="connsiteY66" fmla="*/ 67108 h 608274"/>
              <a:gd name="connsiteX67" fmla="*/ 171336 w 313668"/>
              <a:gd name="connsiteY67" fmla="*/ 0 h 60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13668" h="608274">
                <a:moveTo>
                  <a:pt x="159127" y="411396"/>
                </a:moveTo>
                <a:lnTo>
                  <a:pt x="159127" y="577440"/>
                </a:lnTo>
                <a:cubicBezTo>
                  <a:pt x="159127" y="594468"/>
                  <a:pt x="145391" y="608274"/>
                  <a:pt x="128336" y="608274"/>
                </a:cubicBezTo>
                <a:cubicBezTo>
                  <a:pt x="111282" y="608274"/>
                  <a:pt x="97453" y="594468"/>
                  <a:pt x="97453" y="577440"/>
                </a:cubicBezTo>
                <a:lnTo>
                  <a:pt x="97453" y="458706"/>
                </a:lnTo>
                <a:close/>
                <a:moveTo>
                  <a:pt x="128221" y="306395"/>
                </a:moveTo>
                <a:lnTo>
                  <a:pt x="168122" y="358410"/>
                </a:lnTo>
                <a:cubicBezTo>
                  <a:pt x="170794" y="361816"/>
                  <a:pt x="171900" y="366143"/>
                  <a:pt x="171347" y="370377"/>
                </a:cubicBezTo>
                <a:cubicBezTo>
                  <a:pt x="170794" y="374612"/>
                  <a:pt x="168583" y="378479"/>
                  <a:pt x="165173" y="381149"/>
                </a:cubicBezTo>
                <a:lnTo>
                  <a:pt x="71917" y="452588"/>
                </a:lnTo>
                <a:cubicBezTo>
                  <a:pt x="68968" y="454889"/>
                  <a:pt x="65467" y="455994"/>
                  <a:pt x="62057" y="455994"/>
                </a:cubicBezTo>
                <a:cubicBezTo>
                  <a:pt x="57173" y="455994"/>
                  <a:pt x="52289" y="453785"/>
                  <a:pt x="49156" y="449642"/>
                </a:cubicBezTo>
                <a:lnTo>
                  <a:pt x="3357" y="390079"/>
                </a:lnTo>
                <a:cubicBezTo>
                  <a:pt x="777" y="386672"/>
                  <a:pt x="-421" y="382345"/>
                  <a:pt x="132" y="378019"/>
                </a:cubicBezTo>
                <a:cubicBezTo>
                  <a:pt x="685" y="373784"/>
                  <a:pt x="2988" y="369917"/>
                  <a:pt x="6398" y="367339"/>
                </a:cubicBezTo>
                <a:lnTo>
                  <a:pt x="9162" y="365130"/>
                </a:lnTo>
                <a:cubicBezTo>
                  <a:pt x="11374" y="384279"/>
                  <a:pt x="24367" y="401402"/>
                  <a:pt x="43904" y="407754"/>
                </a:cubicBezTo>
                <a:cubicBezTo>
                  <a:pt x="49064" y="409411"/>
                  <a:pt x="54409" y="410240"/>
                  <a:pt x="59661" y="410240"/>
                </a:cubicBezTo>
                <a:cubicBezTo>
                  <a:pt x="81040" y="410240"/>
                  <a:pt x="100945" y="396615"/>
                  <a:pt x="107948" y="375165"/>
                </a:cubicBezTo>
                <a:lnTo>
                  <a:pt x="126009" y="319836"/>
                </a:lnTo>
                <a:cubicBezTo>
                  <a:pt x="127484" y="315325"/>
                  <a:pt x="128037" y="310906"/>
                  <a:pt x="128221" y="306395"/>
                </a:cubicBezTo>
                <a:close/>
                <a:moveTo>
                  <a:pt x="163534" y="163741"/>
                </a:moveTo>
                <a:cubicBezTo>
                  <a:pt x="162059" y="163741"/>
                  <a:pt x="160861" y="164938"/>
                  <a:pt x="160861" y="166411"/>
                </a:cubicBezTo>
                <a:lnTo>
                  <a:pt x="160861" y="185098"/>
                </a:lnTo>
                <a:cubicBezTo>
                  <a:pt x="160861" y="186571"/>
                  <a:pt x="162059" y="187767"/>
                  <a:pt x="163534" y="187767"/>
                </a:cubicBezTo>
                <a:lnTo>
                  <a:pt x="179484" y="187767"/>
                </a:lnTo>
                <a:cubicBezTo>
                  <a:pt x="180959" y="187767"/>
                  <a:pt x="182157" y="186571"/>
                  <a:pt x="182157" y="185098"/>
                </a:cubicBezTo>
                <a:lnTo>
                  <a:pt x="182157" y="166411"/>
                </a:lnTo>
                <a:cubicBezTo>
                  <a:pt x="182157" y="164938"/>
                  <a:pt x="180959" y="163741"/>
                  <a:pt x="179484" y="163741"/>
                </a:cubicBezTo>
                <a:close/>
                <a:moveTo>
                  <a:pt x="131358" y="155456"/>
                </a:moveTo>
                <a:lnTo>
                  <a:pt x="211383" y="155456"/>
                </a:lnTo>
                <a:cubicBezTo>
                  <a:pt x="233694" y="155456"/>
                  <a:pt x="253424" y="169725"/>
                  <a:pt x="260338" y="190989"/>
                </a:cubicBezTo>
                <a:lnTo>
                  <a:pt x="312151" y="350060"/>
                </a:lnTo>
                <a:cubicBezTo>
                  <a:pt x="317406" y="366078"/>
                  <a:pt x="308556" y="383292"/>
                  <a:pt x="292606" y="388447"/>
                </a:cubicBezTo>
                <a:cubicBezTo>
                  <a:pt x="289471" y="389460"/>
                  <a:pt x="286245" y="389920"/>
                  <a:pt x="283110" y="389920"/>
                </a:cubicBezTo>
                <a:cubicBezTo>
                  <a:pt x="270295" y="389920"/>
                  <a:pt x="258310" y="381819"/>
                  <a:pt x="254069" y="368931"/>
                </a:cubicBezTo>
                <a:lnTo>
                  <a:pt x="245310" y="341867"/>
                </a:lnTo>
                <a:lnTo>
                  <a:pt x="245310" y="383108"/>
                </a:lnTo>
                <a:lnTo>
                  <a:pt x="245310" y="577436"/>
                </a:lnTo>
                <a:cubicBezTo>
                  <a:pt x="245310" y="594466"/>
                  <a:pt x="231481" y="608274"/>
                  <a:pt x="214425" y="608274"/>
                </a:cubicBezTo>
                <a:cubicBezTo>
                  <a:pt x="197369" y="608274"/>
                  <a:pt x="183540" y="594466"/>
                  <a:pt x="183540" y="577436"/>
                </a:cubicBezTo>
                <a:lnTo>
                  <a:pt x="183540" y="391301"/>
                </a:lnTo>
                <a:cubicBezTo>
                  <a:pt x="187873" y="386146"/>
                  <a:pt x="190639" y="379886"/>
                  <a:pt x="191561" y="373074"/>
                </a:cubicBezTo>
                <a:cubicBezTo>
                  <a:pt x="192852" y="363316"/>
                  <a:pt x="190271" y="353742"/>
                  <a:pt x="184278" y="346102"/>
                </a:cubicBezTo>
                <a:lnTo>
                  <a:pt x="181789" y="342788"/>
                </a:lnTo>
                <a:lnTo>
                  <a:pt x="197646" y="323825"/>
                </a:lnTo>
                <a:cubicBezTo>
                  <a:pt x="200688" y="320142"/>
                  <a:pt x="201979" y="315355"/>
                  <a:pt x="201242" y="310661"/>
                </a:cubicBezTo>
                <a:lnTo>
                  <a:pt x="185015" y="216396"/>
                </a:lnTo>
                <a:lnTo>
                  <a:pt x="182526" y="201760"/>
                </a:lnTo>
                <a:cubicBezTo>
                  <a:pt x="182250" y="200471"/>
                  <a:pt x="181143" y="199550"/>
                  <a:pt x="179853" y="199550"/>
                </a:cubicBezTo>
                <a:lnTo>
                  <a:pt x="162797" y="199550"/>
                </a:lnTo>
                <a:cubicBezTo>
                  <a:pt x="161506" y="199550"/>
                  <a:pt x="160400" y="200471"/>
                  <a:pt x="160123" y="201760"/>
                </a:cubicBezTo>
                <a:lnTo>
                  <a:pt x="157634" y="216396"/>
                </a:lnTo>
                <a:lnTo>
                  <a:pt x="144266" y="293999"/>
                </a:lnTo>
                <a:lnTo>
                  <a:pt x="138550" y="286450"/>
                </a:lnTo>
                <a:cubicBezTo>
                  <a:pt x="133663" y="280191"/>
                  <a:pt x="127025" y="275864"/>
                  <a:pt x="119650" y="273747"/>
                </a:cubicBezTo>
                <a:lnTo>
                  <a:pt x="119189" y="275127"/>
                </a:lnTo>
                <a:lnTo>
                  <a:pt x="88580" y="368931"/>
                </a:lnTo>
                <a:cubicBezTo>
                  <a:pt x="83418" y="384949"/>
                  <a:pt x="66177" y="393694"/>
                  <a:pt x="50135" y="388447"/>
                </a:cubicBezTo>
                <a:cubicBezTo>
                  <a:pt x="34094" y="383200"/>
                  <a:pt x="25335" y="366078"/>
                  <a:pt x="30590" y="350060"/>
                </a:cubicBezTo>
                <a:lnTo>
                  <a:pt x="61107" y="256256"/>
                </a:lnTo>
                <a:lnTo>
                  <a:pt x="82403" y="190989"/>
                </a:lnTo>
                <a:cubicBezTo>
                  <a:pt x="89318" y="169725"/>
                  <a:pt x="108955" y="155456"/>
                  <a:pt x="131358" y="155456"/>
                </a:cubicBezTo>
                <a:close/>
                <a:moveTo>
                  <a:pt x="171336" y="0"/>
                </a:moveTo>
                <a:cubicBezTo>
                  <a:pt x="208477" y="0"/>
                  <a:pt x="238585" y="30045"/>
                  <a:pt x="238585" y="67108"/>
                </a:cubicBezTo>
                <a:cubicBezTo>
                  <a:pt x="238585" y="104171"/>
                  <a:pt x="208477" y="134216"/>
                  <a:pt x="171336" y="134216"/>
                </a:cubicBezTo>
                <a:cubicBezTo>
                  <a:pt x="134195" y="134216"/>
                  <a:pt x="104087" y="104171"/>
                  <a:pt x="104087" y="67108"/>
                </a:cubicBezTo>
                <a:cubicBezTo>
                  <a:pt x="104087" y="30045"/>
                  <a:pt x="134195" y="0"/>
                  <a:pt x="17133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90613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7c1a26a1-4f43-48a6-b819-fdd778c89a89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C99D7"/>
      </a:accent1>
      <a:accent2>
        <a:srgbClr val="83C024"/>
      </a:accent2>
      <a:accent3>
        <a:srgbClr val="95DEF7"/>
      </a:accent3>
      <a:accent4>
        <a:srgbClr val="93A4D1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0smqr1pf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C99D7"/>
    </a:accent1>
    <a:accent2>
      <a:srgbClr val="83C024"/>
    </a:accent2>
    <a:accent3>
      <a:srgbClr val="95DEF7"/>
    </a:accent3>
    <a:accent4>
      <a:srgbClr val="93A4D1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C99D7"/>
    </a:accent1>
    <a:accent2>
      <a:srgbClr val="83C024"/>
    </a:accent2>
    <a:accent3>
      <a:srgbClr val="95DEF7"/>
    </a:accent3>
    <a:accent4>
      <a:srgbClr val="93A4D1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C99D7"/>
    </a:accent1>
    <a:accent2>
      <a:srgbClr val="83C024"/>
    </a:accent2>
    <a:accent3>
      <a:srgbClr val="95DEF7"/>
    </a:accent3>
    <a:accent4>
      <a:srgbClr val="93A4D1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3B68D7-43F4-4701-93D5-7A4131BE34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72A752-203F-42D4-9462-7BBE809F6CE5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D298D433-C8AA-4718-A245-6D93E54D40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8</TotalTime>
  <Words>1221</Words>
  <Application>Microsoft Office PowerPoint</Application>
  <PresentationFormat>宽屏</PresentationFormat>
  <Paragraphs>488</Paragraphs>
  <Slides>2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34" baseType="lpstr">
      <vt:lpstr>等线</vt:lpstr>
      <vt:lpstr>Arial</vt:lpstr>
      <vt:lpstr>Calibri</vt:lpstr>
      <vt:lpstr>主题5</vt:lpstr>
      <vt:lpstr>think-cell Slide</vt:lpstr>
      <vt:lpstr>毕业论文答辩PPT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谢谢！</vt:lpstr>
    </vt:vector>
  </TitlesOfParts>
  <Manager>GUET-MBA</Manager>
  <Company>桂林电子科技大学MBA教育中心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答辩模板</dc:title>
  <dc:creator>郭星宇</dc:creator>
  <cp:lastModifiedBy>星宇 郭</cp:lastModifiedBy>
  <cp:revision>6</cp:revision>
  <cp:lastPrinted>2019-10-20T16:00:00Z</cp:lastPrinted>
  <dcterms:created xsi:type="dcterms:W3CDTF">2019-10-20T16:00:00Z</dcterms:created>
  <dcterms:modified xsi:type="dcterms:W3CDTF">2023-09-03T02:0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